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8" r:id="rId5"/>
  </p:sldMasterIdLst>
  <p:notesMasterIdLst>
    <p:notesMasterId r:id="rId19"/>
  </p:notesMasterIdLst>
  <p:sldIdLst>
    <p:sldId id="406" r:id="rId6"/>
    <p:sldId id="377" r:id="rId7"/>
    <p:sldId id="389" r:id="rId8"/>
    <p:sldId id="401" r:id="rId9"/>
    <p:sldId id="391" r:id="rId10"/>
    <p:sldId id="408" r:id="rId11"/>
    <p:sldId id="407" r:id="rId12"/>
    <p:sldId id="409" r:id="rId13"/>
    <p:sldId id="403" r:id="rId14"/>
    <p:sldId id="400" r:id="rId15"/>
    <p:sldId id="388" r:id="rId16"/>
    <p:sldId id="396" r:id="rId17"/>
    <p:sldId id="399" r:id="rId18"/>
  </p:sldIdLst>
  <p:sldSz cx="12192000" cy="6858000"/>
  <p:notesSz cx="6858000" cy="9144000"/>
  <p:custDataLst>
    <p:tags r:id="rId2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sitysmateriaali" id="{58A6EE1B-258A-4FF0-BB56-1284636BA877}">
          <p14:sldIdLst/>
        </p14:section>
        <p14:section name="Kalvot 2024" id="{D48942C0-B851-0B42-8D51-71C8E77DB068}">
          <p14:sldIdLst>
            <p14:sldId id="406"/>
            <p14:sldId id="377"/>
            <p14:sldId id="389"/>
            <p14:sldId id="401"/>
            <p14:sldId id="391"/>
            <p14:sldId id="408"/>
            <p14:sldId id="407"/>
            <p14:sldId id="409"/>
            <p14:sldId id="403"/>
            <p14:sldId id="400"/>
            <p14:sldId id="388"/>
            <p14:sldId id="396"/>
            <p14:sldId id="399"/>
          </p14:sldIdLst>
        </p14:section>
        <p14:section name="Peruskalvot" id="{D834596A-0641-EC44-A252-04A433EEE6FA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F69E56-B802-7230-452A-86862A0C3E48}" name="Krista Takkinen" initials="KT" userId="S::krista.takkinen@sitra.fi::fe138b0f-3cc4-4669-aaa6-338024165292" providerId="AD"/>
  <p188:author id="{3B04F77A-3F7C-D337-3624-127D1BBDE2F3}" name="Taru Ryske" initials="TR" userId="S::taru.ryske@sitra.fi::d93356dc-8797-475d-91c3-5d0aed6929a9" providerId="AD"/>
  <p188:author id="{E6A14E92-8C05-6C2B-85B2-A53F45AB532B}" name="oksanen.kia@gmail.com" initials="ok" userId="S::urn:spo:guest#oksanen.kia@gmail.com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7F2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013B8B-D88B-49E5-AD44-48326413EF79}" v="330" dt="2024-11-15T13:33:48.1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93447" autoAdjust="0"/>
  </p:normalViewPr>
  <p:slideViewPr>
    <p:cSldViewPr snapToGrid="0">
      <p:cViewPr varScale="1">
        <p:scale>
          <a:sx n="81" d="100"/>
          <a:sy n="81" d="100"/>
        </p:scale>
        <p:origin x="725" y="133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5A3CA-FEB8-4CE1-9FFB-20ECB076A0A7}" type="datetimeFigureOut">
              <a:rPr lang="fi-FI" smtClean="0"/>
              <a:t>2.12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9FBD2-116D-4FA2-9A75-BE2C27FDA4B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3606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9.png"/><Relationship Id="rId3" Type="http://schemas.openxmlformats.org/officeDocument/2006/relationships/hyperlink" Target="https://twitter.com/SitraFund" TargetMode="External"/><Relationship Id="rId7" Type="http://schemas.openxmlformats.org/officeDocument/2006/relationships/hyperlink" Target="https://www.instagram.com/sitrafund/" TargetMode="External"/><Relationship Id="rId12" Type="http://schemas.openxmlformats.org/officeDocument/2006/relationships/image" Target="../media/image8.png"/><Relationship Id="rId2" Type="http://schemas.openxmlformats.org/officeDocument/2006/relationships/hyperlink" Target="https://www.sitra.fi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tiff"/><Relationship Id="rId11" Type="http://schemas.openxmlformats.org/officeDocument/2006/relationships/hyperlink" Target="https://www.linkedin.com/company/sitra" TargetMode="External"/><Relationship Id="rId5" Type="http://schemas.openxmlformats.org/officeDocument/2006/relationships/hyperlink" Target="https://www.facebook.com/SitraFund" TargetMode="Externa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hyperlink" Target="https://www.youtube.com/user/sitrafund" TargetMode="External"/><Relationship Id="rId1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2.emf"/><Relationship Id="rId3" Type="http://schemas.openxmlformats.org/officeDocument/2006/relationships/hyperlink" Target="https://twitter.com/SitraFund" TargetMode="External"/><Relationship Id="rId7" Type="http://schemas.openxmlformats.org/officeDocument/2006/relationships/hyperlink" Target="https://www.instagram.com/sitrafund/" TargetMode="External"/><Relationship Id="rId12" Type="http://schemas.openxmlformats.org/officeDocument/2006/relationships/image" Target="../media/image8.png"/><Relationship Id="rId2" Type="http://schemas.openxmlformats.org/officeDocument/2006/relationships/hyperlink" Target="https://www.sitra.fi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tiff"/><Relationship Id="rId11" Type="http://schemas.openxmlformats.org/officeDocument/2006/relationships/hyperlink" Target="https://www.linkedin.com/company/sitra" TargetMode="External"/><Relationship Id="rId5" Type="http://schemas.openxmlformats.org/officeDocument/2006/relationships/hyperlink" Target="https://www.facebook.com/SitraFund" TargetMode="Externa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hyperlink" Target="https://www.youtube.com/user/sitrafund" TargetMode="External"/><Relationship Id="rId1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2.emf"/><Relationship Id="rId3" Type="http://schemas.openxmlformats.org/officeDocument/2006/relationships/hyperlink" Target="https://twitter.com/SitraFund" TargetMode="External"/><Relationship Id="rId7" Type="http://schemas.openxmlformats.org/officeDocument/2006/relationships/hyperlink" Target="https://www.instagram.com/sitrafund/" TargetMode="External"/><Relationship Id="rId12" Type="http://schemas.openxmlformats.org/officeDocument/2006/relationships/image" Target="../media/image8.png"/><Relationship Id="rId2" Type="http://schemas.openxmlformats.org/officeDocument/2006/relationships/hyperlink" Target="https://www.sitra.fi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tiff"/><Relationship Id="rId11" Type="http://schemas.openxmlformats.org/officeDocument/2006/relationships/hyperlink" Target="https://www.linkedin.com/company/sitra" TargetMode="External"/><Relationship Id="rId5" Type="http://schemas.openxmlformats.org/officeDocument/2006/relationships/hyperlink" Target="https://www.facebook.com/SitraFund" TargetMode="Externa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hyperlink" Target="https://www.youtube.com/user/sitrafund" TargetMode="External"/><Relationship Id="rId1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P (vaalea pohja)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59A811-D685-6F4A-AEF4-7D78E6B51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A1F29E92-13E2-4B05-86F4-E270E57010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336137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iskyt-viisky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7A240A0-EC0C-F849-919E-726CBE055A3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D7F2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B958250-BB0A-4B83-2D70-834F0096EE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21828" y="86405"/>
            <a:ext cx="6382204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2657341D-BC9F-A80E-DE48-CB97793D89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286203" y="86405"/>
            <a:ext cx="6382204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rgbClr val="D7F2F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C0C768-DDB5-B209-EA25-F583FFDB8F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B0D82385-7030-69DD-8183-0A9093CCC2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902551"/>
            <a:ext cx="4859337" cy="144045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5B2361C5-761F-2FE9-8E66-F8A7995F1B8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5938" y="2343009"/>
            <a:ext cx="4859337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7533" indent="-228594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10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4" name="Tekstin paikkamerkki 6">
            <a:extLst>
              <a:ext uri="{FF2B5EF4-FFF2-40B4-BE49-F238E27FC236}">
                <a16:creationId xmlns:a16="http://schemas.microsoft.com/office/drawing/2014/main" id="{830F3665-8F30-BF84-B3AC-A57A58ED8B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16080" y="902551"/>
            <a:ext cx="4859337" cy="144045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AB74645-D1DF-2345-0621-95D2F0925A7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16080" y="2343009"/>
            <a:ext cx="4859337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7533" indent="-228594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10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8B3D4C6-9EC1-BC7B-C2C7-7AD9F7ABF63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24400" y="6356350"/>
            <a:ext cx="2743200" cy="365125"/>
          </a:xfrm>
        </p:spPr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589115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 1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60085175-445D-028E-6D58-3D50451073FA}"/>
              </a:ext>
            </a:extLst>
          </p:cNvPr>
          <p:cNvSpPr txBox="1"/>
          <p:nvPr userDrawn="1"/>
        </p:nvSpPr>
        <p:spPr>
          <a:xfrm>
            <a:off x="493517" y="-219159"/>
            <a:ext cx="1840247" cy="2416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FI" sz="28700" b="0" i="0">
                <a:solidFill>
                  <a:schemeClr val="bg1"/>
                </a:solidFill>
                <a:latin typeface="+mj-lt"/>
              </a:rPr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5688" y="1268414"/>
            <a:ext cx="10080625" cy="4321174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n-lt"/>
              </a:defRPr>
            </a:lvl1pPr>
          </a:lstStyle>
          <a:p>
            <a:r>
              <a:rPr lang="fi-FI"/>
              <a:t>”Lainaus joltain tyypiltä”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FBC4A8-05F8-5843-9AE4-11FC19955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C813140-B33D-3870-9BDB-4AD8A64077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55688" y="5584310"/>
            <a:ext cx="10080625" cy="7207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FI"/>
              <a:t>Lainattavan Nimi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21E5FD-CE6F-6A56-FC99-01FD1B663E7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24400" y="6356350"/>
            <a:ext cx="2743200" cy="365125"/>
          </a:xfrm>
        </p:spPr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205662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58064030-2945-43A2-0486-490C69CF115C}"/>
              </a:ext>
            </a:extLst>
          </p:cNvPr>
          <p:cNvSpPr txBox="1"/>
          <p:nvPr userDrawn="1"/>
        </p:nvSpPr>
        <p:spPr>
          <a:xfrm>
            <a:off x="493517" y="-219159"/>
            <a:ext cx="1840247" cy="2416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FI" sz="28700" b="0" i="0">
                <a:solidFill>
                  <a:srgbClr val="D7F2FA"/>
                </a:solidFill>
                <a:latin typeface="+mj-lt"/>
              </a:rPr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5688" y="1268412"/>
            <a:ext cx="10080625" cy="4321175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n-lt"/>
              </a:defRPr>
            </a:lvl1pPr>
          </a:lstStyle>
          <a:p>
            <a:r>
              <a:rPr lang="fi-FI"/>
              <a:t>”Lainaus joltain tyypiltä”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FBC4A8-05F8-5843-9AE4-11FC19955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FAB3BB-87B4-2B32-F858-0806090664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55687" y="5584310"/>
            <a:ext cx="10080625" cy="7207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FI"/>
              <a:t>Lainattavan Nimi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29B4F37-CCC5-4E30-A9B4-E1A57EA682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24400" y="6356350"/>
            <a:ext cx="2743200" cy="365125"/>
          </a:xfrm>
        </p:spPr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413589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9C2FF38-8635-0971-4D39-CAE3AB8D8F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286204" y="86405"/>
            <a:ext cx="12143241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rgbClr val="D7F2F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688" y="853483"/>
            <a:ext cx="10080625" cy="735832"/>
          </a:xfrm>
          <a:prstGeom prst="rect">
            <a:avLst/>
          </a:prstGeom>
        </p:spPr>
        <p:txBody>
          <a:bodyPr anchor="t"/>
          <a:lstStyle>
            <a:lvl1pPr algn="l">
              <a:defRPr sz="320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775805" y="1605095"/>
            <a:ext cx="9360508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0" i="0">
                <a:latin typeface="Georgi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774826" y="2506683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775805" y="3406585"/>
            <a:ext cx="936050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774825" y="4306487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774825" y="5206388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2D61E7-C676-CB4B-A88C-6D5E87ED05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393B997C-7668-4298-BA40-150098A4EF3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554747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 tai 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7A11B67-A3EA-09D2-9D13-D0432835B9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286203" y="86405"/>
            <a:ext cx="6382204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rgbClr val="D7F2F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55688" y="847251"/>
            <a:ext cx="10080624" cy="86409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1055688" y="1807356"/>
            <a:ext cx="10080624" cy="441576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7CFA92-6B46-5C4F-9253-7F92C92B0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FB2C9357-D73E-4A4C-925D-B2759AA6C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2DE5D54D-D2C8-40E4-EBC1-EB534B5AD18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5575" y="6308725"/>
            <a:ext cx="10080624" cy="36036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fi-FI"/>
              <a:t>Lisätietoalue, lähde tms. </a:t>
            </a:r>
          </a:p>
        </p:txBody>
      </p:sp>
    </p:spTree>
    <p:extLst>
      <p:ext uri="{BB962C8B-B14F-4D97-AF65-F5344CB8AC3E}">
        <p14:creationId xmlns:p14="http://schemas.microsoft.com/office/powerpoint/2010/main" val="1349290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äätöskalvo 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itra.fi" descr="Verkkosivumme löydät osoitteesta www.sitra.fi">
            <a:extLst>
              <a:ext uri="{FF2B5EF4-FFF2-40B4-BE49-F238E27FC236}">
                <a16:creationId xmlns:a16="http://schemas.microsoft.com/office/drawing/2014/main" id="{D2BAE405-434C-C98B-3AF8-F432132C94F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 userDrawn="1"/>
        </p:nvSpPr>
        <p:spPr>
          <a:xfrm>
            <a:off x="96770" y="6308730"/>
            <a:ext cx="824265" cy="44383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Arial Black" charset="0"/>
                <a:cs typeface="Arial Black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ra.fi</a:t>
            </a:r>
            <a:endParaRPr kumimoji="0" lang="en-US" sz="1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Arial Black" charset="0"/>
              <a:cs typeface="Arial Black" charset="0"/>
            </a:endParaRPr>
          </a:p>
        </p:txBody>
      </p:sp>
      <p:grpSp>
        <p:nvGrpSpPr>
          <p:cNvPr id="6" name="Ryhmä 13" descr="Voit seurata Sitraa somekanavavissa kuten X:ssä, Facebookissa, Instagramissa, Linkedinissä ja YouTubessa. Löydät meidät some-kanavista nimellä @sitrafund">
            <a:extLst>
              <a:ext uri="{FF2B5EF4-FFF2-40B4-BE49-F238E27FC236}">
                <a16:creationId xmlns:a16="http://schemas.microsoft.com/office/drawing/2014/main" id="{379F1CB8-DCAC-0D3A-05A6-B631D8DF6603}"/>
              </a:ext>
            </a:extLst>
          </p:cNvPr>
          <p:cNvGrpSpPr/>
          <p:nvPr userDrawn="1"/>
        </p:nvGrpSpPr>
        <p:grpSpPr>
          <a:xfrm>
            <a:off x="72803" y="7487"/>
            <a:ext cx="2229981" cy="443905"/>
            <a:chOff x="72803" y="7487"/>
            <a:chExt cx="2229981" cy="443905"/>
          </a:xfrm>
        </p:grpSpPr>
        <p:grpSp>
          <p:nvGrpSpPr>
            <p:cNvPr id="7" name="Sitran-somekanavat" descr="Voit seurata Sitraa somekanavavissa kuten X:ssä, Facebookissa, Instagramissa, Linkedinissä ja YouTubessa. Löydät meidät some-kanavista nimellä @sitrafund">
              <a:extLst>
                <a:ext uri="{FF2B5EF4-FFF2-40B4-BE49-F238E27FC236}">
                  <a16:creationId xmlns:a16="http://schemas.microsoft.com/office/drawing/2014/main" id="{91538A4E-CF92-9F5E-74AF-89DAD60EF6CC}"/>
                </a:ext>
              </a:extLst>
            </p:cNvPr>
            <p:cNvGrpSpPr/>
            <p:nvPr/>
          </p:nvGrpSpPr>
          <p:grpSpPr>
            <a:xfrm>
              <a:off x="72803" y="7487"/>
              <a:ext cx="2039581" cy="443905"/>
              <a:chOff x="72803" y="7487"/>
              <a:chExt cx="2039581" cy="443905"/>
            </a:xfrm>
          </p:grpSpPr>
          <p:sp>
            <p:nvSpPr>
              <p:cNvPr id="9" name="@Sitrafund">
                <a:extLst>
                  <a:ext uri="{FF2B5EF4-FFF2-40B4-BE49-F238E27FC236}">
                    <a16:creationId xmlns:a16="http://schemas.microsoft.com/office/drawing/2014/main" id="{865AD193-F52B-D84B-6EC6-F82264BE4F94}"/>
                  </a:ext>
                </a:extLst>
              </p:cNvPr>
              <p:cNvSpPr/>
              <p:nvPr/>
            </p:nvSpPr>
            <p:spPr>
              <a:xfrm>
                <a:off x="72803" y="7487"/>
                <a:ext cx="1293943" cy="4439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33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Arial Black" charset="0"/>
                    <a:cs typeface="Arial Black" charset="0"/>
                  </a:rPr>
                  <a:t>@sitrafund</a:t>
                </a:r>
              </a:p>
            </p:txBody>
          </p:sp>
          <p:pic>
            <p:nvPicPr>
              <p:cNvPr id="10" name="X">
                <a:hlinkClick r:id="rId3"/>
                <a:extLst>
                  <a:ext uri="{FF2B5EF4-FFF2-40B4-BE49-F238E27FC236}">
                    <a16:creationId xmlns:a16="http://schemas.microsoft.com/office/drawing/2014/main" id="{DBAA4B29-0F4F-15F6-40FC-49A15942D0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68119" y="199600"/>
                <a:ext cx="144470" cy="147600"/>
              </a:xfrm>
              <a:prstGeom prst="rect">
                <a:avLst/>
              </a:prstGeom>
            </p:spPr>
          </p:pic>
          <p:pic>
            <p:nvPicPr>
              <p:cNvPr id="11" name="Facebook">
                <a:hlinkClick r:id="rId5"/>
                <a:extLst>
                  <a:ext uri="{FF2B5EF4-FFF2-40B4-BE49-F238E27FC236}">
                    <a16:creationId xmlns:a16="http://schemas.microsoft.com/office/drawing/2014/main" id="{6658F65B-4CA7-D4CE-480A-7894E9F8F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28795" y="198999"/>
                <a:ext cx="148800" cy="148802"/>
              </a:xfrm>
              <a:prstGeom prst="rect">
                <a:avLst/>
              </a:prstGeom>
            </p:spPr>
          </p:pic>
          <p:pic>
            <p:nvPicPr>
              <p:cNvPr id="12" name="Instagram">
                <a:hlinkClick r:id="rId7"/>
                <a:extLst>
                  <a:ext uri="{FF2B5EF4-FFF2-40B4-BE49-F238E27FC236}">
                    <a16:creationId xmlns:a16="http://schemas.microsoft.com/office/drawing/2014/main" id="{FA98CFAD-365E-320D-4D3A-EA11EF6A59DA}"/>
                  </a:ext>
                </a:extLst>
              </p:cNvPr>
              <p:cNvPicPr/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10394" y="198999"/>
                <a:ext cx="148800" cy="14880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" name="YouTube">
                <a:hlinkClick r:id="rId9"/>
                <a:extLst>
                  <a:ext uri="{FF2B5EF4-FFF2-40B4-BE49-F238E27FC236}">
                    <a16:creationId xmlns:a16="http://schemas.microsoft.com/office/drawing/2014/main" id="{4F0400A3-46CE-1AF1-3BB4-CB70FA72D1EA}"/>
                  </a:ext>
                </a:extLst>
              </p:cNvPr>
              <p:cNvPicPr preferRelativeResize="0"/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86784" y="198999"/>
                <a:ext cx="225600" cy="14880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8" name="Kuva 15">
              <a:hlinkClick r:id="rId11"/>
              <a:extLst>
                <a:ext uri="{FF2B5EF4-FFF2-40B4-BE49-F238E27FC236}">
                  <a16:creationId xmlns:a16="http://schemas.microsoft.com/office/drawing/2014/main" id="{D86283D4-1675-A918-8440-B440DF956594}"/>
                </a:ext>
              </a:extLst>
            </p:cNvPr>
            <p:cNvPicPr/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9104" y="198999"/>
              <a:ext cx="163680" cy="1488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4" name="Kuva 16" descr="Kuva, joka sisältää kohteen teksti, kuu, pallo, ympyrä&#10;&#10;Kuvaus luotu automaattisesti">
            <a:extLst>
              <a:ext uri="{FF2B5EF4-FFF2-40B4-BE49-F238E27FC236}">
                <a16:creationId xmlns:a16="http://schemas.microsoft.com/office/drawing/2014/main" id="{7EDCE105-962F-4CF3-C316-D4C3FC0E3A8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64B6F42-8782-25DE-C6A1-C92D8444290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0385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äätöskalvo SW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itra.fi" descr="Verkkosivumme löydät osoitteesta www.sitra.fi">
            <a:extLst>
              <a:ext uri="{FF2B5EF4-FFF2-40B4-BE49-F238E27FC236}">
                <a16:creationId xmlns:a16="http://schemas.microsoft.com/office/drawing/2014/main" id="{D2BAE405-434C-C98B-3AF8-F432132C94F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 userDrawn="1"/>
        </p:nvSpPr>
        <p:spPr>
          <a:xfrm>
            <a:off x="96770" y="6308730"/>
            <a:ext cx="824265" cy="44383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Arial Black" charset="0"/>
                <a:cs typeface="Arial Black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ra.fi</a:t>
            </a:r>
            <a:endParaRPr kumimoji="0" lang="en-US" sz="1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Arial Black" charset="0"/>
              <a:cs typeface="Arial Black" charset="0"/>
            </a:endParaRPr>
          </a:p>
        </p:txBody>
      </p:sp>
      <p:grpSp>
        <p:nvGrpSpPr>
          <p:cNvPr id="6" name="Ryhmä 13" descr="Voit seurata Sitraa somekanavavissa kuten X:ssä, Facebookissa, Instagramissa, Linkedinissä ja YouTubessa. Löydät meidät some-kanavista nimellä @sitrafund">
            <a:extLst>
              <a:ext uri="{FF2B5EF4-FFF2-40B4-BE49-F238E27FC236}">
                <a16:creationId xmlns:a16="http://schemas.microsoft.com/office/drawing/2014/main" id="{379F1CB8-DCAC-0D3A-05A6-B631D8DF6603}"/>
              </a:ext>
            </a:extLst>
          </p:cNvPr>
          <p:cNvGrpSpPr/>
          <p:nvPr userDrawn="1"/>
        </p:nvGrpSpPr>
        <p:grpSpPr>
          <a:xfrm>
            <a:off x="72803" y="7487"/>
            <a:ext cx="2229981" cy="443905"/>
            <a:chOff x="72803" y="7487"/>
            <a:chExt cx="2229981" cy="443905"/>
          </a:xfrm>
        </p:grpSpPr>
        <p:grpSp>
          <p:nvGrpSpPr>
            <p:cNvPr id="7" name="Sitran-somekanavat" descr="Voit seurata Sitraa somekanavavissa kuten X:ssä, Facebookissa, Instagramissa, Linkedinissä ja YouTubessa. Löydät meidät some-kanavista nimellä @sitrafund">
              <a:extLst>
                <a:ext uri="{FF2B5EF4-FFF2-40B4-BE49-F238E27FC236}">
                  <a16:creationId xmlns:a16="http://schemas.microsoft.com/office/drawing/2014/main" id="{91538A4E-CF92-9F5E-74AF-89DAD60EF6CC}"/>
                </a:ext>
              </a:extLst>
            </p:cNvPr>
            <p:cNvGrpSpPr/>
            <p:nvPr/>
          </p:nvGrpSpPr>
          <p:grpSpPr>
            <a:xfrm>
              <a:off x="72803" y="7487"/>
              <a:ext cx="2039581" cy="443905"/>
              <a:chOff x="72803" y="7487"/>
              <a:chExt cx="2039581" cy="443905"/>
            </a:xfrm>
          </p:grpSpPr>
          <p:sp>
            <p:nvSpPr>
              <p:cNvPr id="9" name="@Sitrafund">
                <a:extLst>
                  <a:ext uri="{FF2B5EF4-FFF2-40B4-BE49-F238E27FC236}">
                    <a16:creationId xmlns:a16="http://schemas.microsoft.com/office/drawing/2014/main" id="{865AD193-F52B-D84B-6EC6-F82264BE4F94}"/>
                  </a:ext>
                </a:extLst>
              </p:cNvPr>
              <p:cNvSpPr/>
              <p:nvPr/>
            </p:nvSpPr>
            <p:spPr>
              <a:xfrm>
                <a:off x="72803" y="7487"/>
                <a:ext cx="1293943" cy="4439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33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Arial Black" charset="0"/>
                    <a:cs typeface="Arial Black" charset="0"/>
                  </a:rPr>
                  <a:t>@sitrafund</a:t>
                </a:r>
              </a:p>
            </p:txBody>
          </p:sp>
          <p:pic>
            <p:nvPicPr>
              <p:cNvPr id="10" name="X">
                <a:hlinkClick r:id="rId3"/>
                <a:extLst>
                  <a:ext uri="{FF2B5EF4-FFF2-40B4-BE49-F238E27FC236}">
                    <a16:creationId xmlns:a16="http://schemas.microsoft.com/office/drawing/2014/main" id="{DBAA4B29-0F4F-15F6-40FC-49A15942D0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68119" y="199600"/>
                <a:ext cx="144470" cy="147600"/>
              </a:xfrm>
              <a:prstGeom prst="rect">
                <a:avLst/>
              </a:prstGeom>
            </p:spPr>
          </p:pic>
          <p:pic>
            <p:nvPicPr>
              <p:cNvPr id="11" name="Facebook">
                <a:hlinkClick r:id="rId5"/>
                <a:extLst>
                  <a:ext uri="{FF2B5EF4-FFF2-40B4-BE49-F238E27FC236}">
                    <a16:creationId xmlns:a16="http://schemas.microsoft.com/office/drawing/2014/main" id="{6658F65B-4CA7-D4CE-480A-7894E9F8F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28795" y="198999"/>
                <a:ext cx="148800" cy="148802"/>
              </a:xfrm>
              <a:prstGeom prst="rect">
                <a:avLst/>
              </a:prstGeom>
            </p:spPr>
          </p:pic>
          <p:pic>
            <p:nvPicPr>
              <p:cNvPr id="12" name="Instagram">
                <a:hlinkClick r:id="rId7"/>
                <a:extLst>
                  <a:ext uri="{FF2B5EF4-FFF2-40B4-BE49-F238E27FC236}">
                    <a16:creationId xmlns:a16="http://schemas.microsoft.com/office/drawing/2014/main" id="{FA98CFAD-365E-320D-4D3A-EA11EF6A59DA}"/>
                  </a:ext>
                </a:extLst>
              </p:cNvPr>
              <p:cNvPicPr/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10394" y="198999"/>
                <a:ext cx="148800" cy="14880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" name="YouTube">
                <a:hlinkClick r:id="rId9"/>
                <a:extLst>
                  <a:ext uri="{FF2B5EF4-FFF2-40B4-BE49-F238E27FC236}">
                    <a16:creationId xmlns:a16="http://schemas.microsoft.com/office/drawing/2014/main" id="{4F0400A3-46CE-1AF1-3BB4-CB70FA72D1EA}"/>
                  </a:ext>
                </a:extLst>
              </p:cNvPr>
              <p:cNvPicPr preferRelativeResize="0"/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86784" y="198999"/>
                <a:ext cx="225600" cy="14880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8" name="Kuva 15">
              <a:hlinkClick r:id="rId11"/>
              <a:extLst>
                <a:ext uri="{FF2B5EF4-FFF2-40B4-BE49-F238E27FC236}">
                  <a16:creationId xmlns:a16="http://schemas.microsoft.com/office/drawing/2014/main" id="{D86283D4-1675-A918-8440-B440DF956594}"/>
                </a:ext>
              </a:extLst>
            </p:cNvPr>
            <p:cNvPicPr/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9104" y="198999"/>
              <a:ext cx="163680" cy="1488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A64B6F42-8782-25DE-C6A1-C92D8444290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pic>
        <p:nvPicPr>
          <p:cNvPr id="2" name="Kuva 16">
            <a:extLst>
              <a:ext uri="{FF2B5EF4-FFF2-40B4-BE49-F238E27FC236}">
                <a16:creationId xmlns:a16="http://schemas.microsoft.com/office/drawing/2014/main" id="{9B8C68CB-7427-4A8F-CA97-7B468F75239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50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äätöskalvo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itra.fi" descr="Verkkosivumme löydät osoitteesta www.sitra.fi">
            <a:extLst>
              <a:ext uri="{FF2B5EF4-FFF2-40B4-BE49-F238E27FC236}">
                <a16:creationId xmlns:a16="http://schemas.microsoft.com/office/drawing/2014/main" id="{D2BAE405-434C-C98B-3AF8-F432132C94F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 userDrawn="1"/>
        </p:nvSpPr>
        <p:spPr>
          <a:xfrm>
            <a:off x="96770" y="6308730"/>
            <a:ext cx="824265" cy="44383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Arial Black" charset="0"/>
                <a:cs typeface="Arial Black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ra.fi</a:t>
            </a:r>
            <a:endParaRPr kumimoji="0" lang="en-US" sz="1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Arial Black" charset="0"/>
              <a:cs typeface="Arial Black" charset="0"/>
            </a:endParaRPr>
          </a:p>
        </p:txBody>
      </p:sp>
      <p:grpSp>
        <p:nvGrpSpPr>
          <p:cNvPr id="6" name="Ryhmä 13" descr="Voit seurata Sitraa somekanavavissa kuten X:ssä, Facebookissa, Instagramissa, Linkedinissä ja YouTubessa. Löydät meidät some-kanavista nimellä @sitrafund">
            <a:extLst>
              <a:ext uri="{FF2B5EF4-FFF2-40B4-BE49-F238E27FC236}">
                <a16:creationId xmlns:a16="http://schemas.microsoft.com/office/drawing/2014/main" id="{379F1CB8-DCAC-0D3A-05A6-B631D8DF6603}"/>
              </a:ext>
            </a:extLst>
          </p:cNvPr>
          <p:cNvGrpSpPr/>
          <p:nvPr userDrawn="1"/>
        </p:nvGrpSpPr>
        <p:grpSpPr>
          <a:xfrm>
            <a:off x="72803" y="7487"/>
            <a:ext cx="2229981" cy="443905"/>
            <a:chOff x="72803" y="7487"/>
            <a:chExt cx="2229981" cy="443905"/>
          </a:xfrm>
        </p:grpSpPr>
        <p:grpSp>
          <p:nvGrpSpPr>
            <p:cNvPr id="7" name="Sitran-somekanavat" descr="Voit seurata Sitraa somekanavavissa kuten X:ssä, Facebookissa, Instagramissa, Linkedinissä ja YouTubessa. Löydät meidät some-kanavista nimellä @sitrafund">
              <a:extLst>
                <a:ext uri="{FF2B5EF4-FFF2-40B4-BE49-F238E27FC236}">
                  <a16:creationId xmlns:a16="http://schemas.microsoft.com/office/drawing/2014/main" id="{91538A4E-CF92-9F5E-74AF-89DAD60EF6CC}"/>
                </a:ext>
              </a:extLst>
            </p:cNvPr>
            <p:cNvGrpSpPr/>
            <p:nvPr/>
          </p:nvGrpSpPr>
          <p:grpSpPr>
            <a:xfrm>
              <a:off x="72803" y="7487"/>
              <a:ext cx="2039581" cy="443905"/>
              <a:chOff x="72803" y="7487"/>
              <a:chExt cx="2039581" cy="443905"/>
            </a:xfrm>
          </p:grpSpPr>
          <p:sp>
            <p:nvSpPr>
              <p:cNvPr id="9" name="@Sitrafund">
                <a:extLst>
                  <a:ext uri="{FF2B5EF4-FFF2-40B4-BE49-F238E27FC236}">
                    <a16:creationId xmlns:a16="http://schemas.microsoft.com/office/drawing/2014/main" id="{865AD193-F52B-D84B-6EC6-F82264BE4F94}"/>
                  </a:ext>
                </a:extLst>
              </p:cNvPr>
              <p:cNvSpPr/>
              <p:nvPr/>
            </p:nvSpPr>
            <p:spPr>
              <a:xfrm>
                <a:off x="72803" y="7487"/>
                <a:ext cx="1293943" cy="4439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33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Arial Black" charset="0"/>
                    <a:cs typeface="Arial Black" charset="0"/>
                  </a:rPr>
                  <a:t>@sitrafund</a:t>
                </a:r>
              </a:p>
            </p:txBody>
          </p:sp>
          <p:pic>
            <p:nvPicPr>
              <p:cNvPr id="10" name="X">
                <a:hlinkClick r:id="rId3"/>
                <a:extLst>
                  <a:ext uri="{FF2B5EF4-FFF2-40B4-BE49-F238E27FC236}">
                    <a16:creationId xmlns:a16="http://schemas.microsoft.com/office/drawing/2014/main" id="{DBAA4B29-0F4F-15F6-40FC-49A15942D0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68119" y="199600"/>
                <a:ext cx="144470" cy="147600"/>
              </a:xfrm>
              <a:prstGeom prst="rect">
                <a:avLst/>
              </a:prstGeom>
            </p:spPr>
          </p:pic>
          <p:pic>
            <p:nvPicPr>
              <p:cNvPr id="11" name="Facebook">
                <a:hlinkClick r:id="rId5"/>
                <a:extLst>
                  <a:ext uri="{FF2B5EF4-FFF2-40B4-BE49-F238E27FC236}">
                    <a16:creationId xmlns:a16="http://schemas.microsoft.com/office/drawing/2014/main" id="{6658F65B-4CA7-D4CE-480A-7894E9F8F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28795" y="198999"/>
                <a:ext cx="148800" cy="148802"/>
              </a:xfrm>
              <a:prstGeom prst="rect">
                <a:avLst/>
              </a:prstGeom>
            </p:spPr>
          </p:pic>
          <p:pic>
            <p:nvPicPr>
              <p:cNvPr id="12" name="Instagram">
                <a:hlinkClick r:id="rId7"/>
                <a:extLst>
                  <a:ext uri="{FF2B5EF4-FFF2-40B4-BE49-F238E27FC236}">
                    <a16:creationId xmlns:a16="http://schemas.microsoft.com/office/drawing/2014/main" id="{FA98CFAD-365E-320D-4D3A-EA11EF6A59DA}"/>
                  </a:ext>
                </a:extLst>
              </p:cNvPr>
              <p:cNvPicPr/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10394" y="198999"/>
                <a:ext cx="148800" cy="14880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" name="YouTube">
                <a:hlinkClick r:id="rId9"/>
                <a:extLst>
                  <a:ext uri="{FF2B5EF4-FFF2-40B4-BE49-F238E27FC236}">
                    <a16:creationId xmlns:a16="http://schemas.microsoft.com/office/drawing/2014/main" id="{4F0400A3-46CE-1AF1-3BB4-CB70FA72D1EA}"/>
                  </a:ext>
                </a:extLst>
              </p:cNvPr>
              <p:cNvPicPr preferRelativeResize="0"/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86784" y="198999"/>
                <a:ext cx="225600" cy="14880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8" name="Kuva 15">
              <a:hlinkClick r:id="rId11"/>
              <a:extLst>
                <a:ext uri="{FF2B5EF4-FFF2-40B4-BE49-F238E27FC236}">
                  <a16:creationId xmlns:a16="http://schemas.microsoft.com/office/drawing/2014/main" id="{D86283D4-1675-A918-8440-B440DF956594}"/>
                </a:ext>
              </a:extLst>
            </p:cNvPr>
            <p:cNvPicPr/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9104" y="198999"/>
              <a:ext cx="163680" cy="1488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A64B6F42-8782-25DE-C6A1-C92D8444290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pic>
        <p:nvPicPr>
          <p:cNvPr id="3" name="Kuva 16">
            <a:extLst>
              <a:ext uri="{FF2B5EF4-FFF2-40B4-BE49-F238E27FC236}">
                <a16:creationId xmlns:a16="http://schemas.microsoft.com/office/drawing/2014/main" id="{EE452ECB-E524-B9CD-78F5-4582A5A3C3E2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3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tsikkokalvo sininen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59A811-D685-6F4A-AEF4-7D78E6B51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57B7B45-F069-BC3E-6018-9C56DF6E1E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5020" y="515993"/>
            <a:ext cx="5764722" cy="57647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BD2F93D-F567-0AE6-D940-D32EAF9ABD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5688" y="3572784"/>
            <a:ext cx="5040312" cy="6731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239178" indent="0">
              <a:buFont typeface="Arial" panose="020B0604020202020204" pitchFamily="34" charset="0"/>
              <a:buNone/>
              <a:defRPr/>
            </a:lvl2pPr>
            <a:lvl3pPr marL="486821" indent="0">
              <a:buFont typeface="Arial" panose="020B0604020202020204" pitchFamily="34" charset="0"/>
              <a:buNone/>
              <a:defRPr/>
            </a:lvl3pPr>
            <a:lvl4pPr marL="732349" indent="0">
              <a:buFont typeface="Arial" panose="020B0604020202020204" pitchFamily="34" charset="0"/>
              <a:buNone/>
              <a:defRPr/>
            </a:lvl4pPr>
            <a:lvl5pPr marL="2438339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err="1"/>
              <a:t>xx.xx.xxxx</a:t>
            </a:r>
            <a:endParaRPr lang="en-US"/>
          </a:p>
          <a:p>
            <a:pPr lvl="0"/>
            <a:r>
              <a:rPr lang="en-US" err="1"/>
              <a:t>Etunimi</a:t>
            </a:r>
            <a:r>
              <a:rPr lang="en-US"/>
              <a:t> </a:t>
            </a:r>
            <a:r>
              <a:rPr lang="en-US" err="1"/>
              <a:t>Sukunimi</a:t>
            </a:r>
            <a:endParaRPr lang="fi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2F50C13-6B03-AC96-8012-3AB63F6758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5688" y="1423545"/>
            <a:ext cx="5442648" cy="156966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800">
                <a:latin typeface="+mj-lt"/>
              </a:defRPr>
            </a:lvl1pPr>
          </a:lstStyle>
          <a:p>
            <a:pPr lvl="0"/>
            <a:r>
              <a:rPr lang="en-US" sz="4800" err="1">
                <a:latin typeface="+mj-lt"/>
              </a:rPr>
              <a:t>Esityksen</a:t>
            </a:r>
            <a:r>
              <a:rPr lang="en-US" sz="4800">
                <a:latin typeface="+mj-lt"/>
              </a:rPr>
              <a:t> </a:t>
            </a:r>
            <a:r>
              <a:rPr lang="en-US" sz="4800" err="1">
                <a:latin typeface="+mj-lt"/>
              </a:rPr>
              <a:t>otsikko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204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P (vaalea pohj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59A811-D685-6F4A-AEF4-7D78E6B51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A1F29E92-13E2-4B05-86F4-E270E57010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34397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kalvo sininen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59A811-D685-6F4A-AEF4-7D78E6B51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57B7B45-F069-BC3E-6018-9C56DF6E1E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5020" y="515993"/>
            <a:ext cx="5764722" cy="57647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7EB580A-E277-92E6-6E21-12D92CB8F26E}"/>
              </a:ext>
            </a:extLst>
          </p:cNvPr>
          <p:cNvSpPr txBox="1"/>
          <p:nvPr userDrawn="1"/>
        </p:nvSpPr>
        <p:spPr>
          <a:xfrm>
            <a:off x="1055688" y="1767407"/>
            <a:ext cx="5442649" cy="1290804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4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Esityksen otsikko</a:t>
            </a:r>
            <a:endParaRPr kumimoji="0" lang="en-FI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kstiruutu 2">
            <a:extLst>
              <a:ext uri="{FF2B5EF4-FFF2-40B4-BE49-F238E27FC236}">
                <a16:creationId xmlns:a16="http://schemas.microsoft.com/office/drawing/2014/main" id="{A96BA202-CC6C-B920-918D-0D36F8FF9395}"/>
              </a:ext>
            </a:extLst>
          </p:cNvPr>
          <p:cNvSpPr txBox="1"/>
          <p:nvPr userDrawn="1"/>
        </p:nvSpPr>
        <p:spPr>
          <a:xfrm>
            <a:off x="1055688" y="3599553"/>
            <a:ext cx="50403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.xx.2024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Etunimi Sukunimi</a:t>
            </a:r>
          </a:p>
        </p:txBody>
      </p:sp>
    </p:spTree>
    <p:extLst>
      <p:ext uri="{BB962C8B-B14F-4D97-AF65-F5344CB8AC3E}">
        <p14:creationId xmlns:p14="http://schemas.microsoft.com/office/powerpoint/2010/main" val="32951998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P (tumma pohja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40DC61-7EEF-9645-9B9C-3EEE1AD26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76EDEAB3-EA17-477F-885E-3547B75FD5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763893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otsikko +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29D1CE-82CA-EB46-B6CB-E493D3FAED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F747C22-ACFC-6443-ADB2-6B11DC6F28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549274"/>
            <a:ext cx="10080626" cy="5759451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algn="ctr">
              <a:lnSpc>
                <a:spcPct val="9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fi-FI"/>
              <a:t>Iso otsikko + VP</a:t>
            </a:r>
            <a:endParaRPr lang="en-US"/>
          </a:p>
        </p:txBody>
      </p:sp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45C39987-6A31-4F9A-BC6C-E6B67059EC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9595844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otsikko +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40DC61-7EEF-9645-9B9C-3EEE1AD26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E19239D-E354-5F42-AE45-A180ED0841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549274"/>
            <a:ext cx="10080626" cy="5759451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algn="ctr">
              <a:lnSpc>
                <a:spcPct val="9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/>
              <a:t>Iso otsikko + TP</a:t>
            </a:r>
            <a:endParaRPr lang="en-US"/>
          </a:p>
        </p:txBody>
      </p:sp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753335E6-BFBC-4F4A-916F-1B8AFDA6EF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015531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otsikko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29D1CE-82CA-EB46-B6CB-E493D3FAED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F747C22-ACFC-6443-ADB2-6B11DC6F28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2746473"/>
            <a:ext cx="10080626" cy="682527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fi-FI"/>
              <a:t>Perusotsikko + VP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ECB3038-49B4-004B-B993-7B487852F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5688" y="3669241"/>
            <a:ext cx="10080625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err="1"/>
              <a:t>Muokkaa</a:t>
            </a:r>
            <a:r>
              <a:rPr lang="en-GB"/>
              <a:t> </a:t>
            </a:r>
            <a:r>
              <a:rPr lang="en-GB" err="1"/>
              <a:t>napsauttamalla</a:t>
            </a:r>
            <a:endParaRPr lang="en-GB"/>
          </a:p>
        </p:txBody>
      </p:sp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9EF2B599-884D-4599-8975-A9560AE77C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842826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otsikko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055688" y="2746473"/>
            <a:ext cx="10080626" cy="682527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Perusotsikko + TP</a:t>
            </a:r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55688" y="3669241"/>
            <a:ext cx="10080625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err="1"/>
              <a:t>Muokkaa</a:t>
            </a:r>
            <a:r>
              <a:rPr lang="en-GB"/>
              <a:t> </a:t>
            </a:r>
            <a:r>
              <a:rPr lang="en-GB" err="1"/>
              <a:t>napsauttamalla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40DC61-7EEF-9645-9B9C-3EEE1AD26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5320E9FA-EE25-40B6-A897-069B210866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064280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5689" y="2084202"/>
            <a:ext cx="10080624" cy="1632181"/>
          </a:xfrm>
          <a:prstGeom prst="rect">
            <a:avLst/>
          </a:prstGeom>
        </p:spPr>
        <p:txBody>
          <a:bodyPr bIns="140400" anchor="b" anchorCtr="0"/>
          <a:lstStyle>
            <a:lvl1pPr algn="ctr">
              <a:defRPr sz="4000" cap="none"/>
            </a:lvl1pPr>
          </a:lstStyle>
          <a:p>
            <a:r>
              <a:rPr lang="fi-FI"/>
              <a:t>Väliotsikko + VP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55689" y="3861375"/>
            <a:ext cx="10080624" cy="5757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en-GB" err="1"/>
              <a:t>Muokkaa</a:t>
            </a:r>
            <a:r>
              <a:rPr lang="en-GB"/>
              <a:t> </a:t>
            </a:r>
            <a:r>
              <a:rPr lang="en-GB" err="1"/>
              <a:t>napsauttamalla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7B64EB-9373-B24F-A3F8-8860C5C84A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0B11A6E-42AA-4090-BEF8-8EDBC7DDE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0870903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5689" y="2084202"/>
            <a:ext cx="10080624" cy="1632181"/>
          </a:xfrm>
          <a:prstGeom prst="rect">
            <a:avLst/>
          </a:prstGeom>
        </p:spPr>
        <p:txBody>
          <a:bodyPr bIns="140400" anchor="b" anchorCtr="0"/>
          <a:lstStyle>
            <a:lvl1pPr algn="ctr">
              <a:defRPr sz="4000" cap="none">
                <a:solidFill>
                  <a:schemeClr val="bg1"/>
                </a:solidFill>
              </a:defRPr>
            </a:lvl1pPr>
          </a:lstStyle>
          <a:p>
            <a:r>
              <a:rPr lang="fi-FI"/>
              <a:t>Väliotsikko + TP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55689" y="3861375"/>
            <a:ext cx="10080624" cy="5757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GB" err="1"/>
              <a:t>Muokkaa</a:t>
            </a:r>
            <a:r>
              <a:rPr lang="en-GB"/>
              <a:t> </a:t>
            </a:r>
            <a:r>
              <a:rPr lang="en-GB" err="1"/>
              <a:t>napsauttamalla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3495C6-4304-4E4A-97C2-9350558AA2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7840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sivu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5689" y="549275"/>
            <a:ext cx="10080624" cy="1152128"/>
          </a:xfrm>
          <a:prstGeom prst="rect">
            <a:avLst/>
          </a:prstGeom>
        </p:spPr>
        <p:txBody>
          <a:bodyPr/>
          <a:lstStyle>
            <a:lvl1pPr algn="l">
              <a:defRPr sz="3200"/>
            </a:lvl1pPr>
          </a:lstStyle>
          <a:p>
            <a:r>
              <a:rPr lang="fi-FI"/>
              <a:t>Tekstikalvo + VP</a:t>
            </a:r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1055689" y="1700808"/>
            <a:ext cx="10080624" cy="432048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34945" algn="l">
              <a:lnSpc>
                <a:spcPct val="9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FBC4A8-05F8-5843-9AE4-11FC19955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CB09718-65AF-4C02-A869-F518B41AAFB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7410896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sivu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055689" y="549275"/>
            <a:ext cx="10080624" cy="1152128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fi-FI"/>
              <a:t>Tekstikalvo + TP</a:t>
            </a:r>
            <a:endParaRPr lang="en-US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1055689" y="1700808"/>
            <a:ext cx="10080624" cy="432048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bg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bg1"/>
                </a:solidFill>
                <a:latin typeface="Georgia"/>
                <a:cs typeface="Georgia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bg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90000"/>
              </a:lnSpc>
              <a:buFont typeface="Georgia" panose="02040502050405020303" pitchFamily="18" charset="0"/>
              <a:buChar char="–"/>
              <a:defRPr sz="1800">
                <a:solidFill>
                  <a:schemeClr val="bg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4FCB64-D060-9148-BFDB-5C606D863F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B4962FB9-FC64-42D3-9FA8-23DA27C83B8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316436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i-fifti (musta lukitt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FBD2C0-8EAE-6F49-80B2-BFD76295107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548680"/>
            <a:ext cx="4859337" cy="144045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fi-FI" err="1"/>
              <a:t>Fifti</a:t>
            </a:r>
            <a:r>
              <a:rPr lang="fi-FI"/>
              <a:t> otsikko mustalla taust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15938" y="1989138"/>
            <a:ext cx="4859337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bg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bg1"/>
                </a:solidFill>
                <a:latin typeface="Georgia"/>
                <a:cs typeface="Georgia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bg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90000"/>
              </a:lnSpc>
              <a:buFont typeface="Georgia" panose="02040502050405020303" pitchFamily="18" charset="0"/>
              <a:buChar char="–"/>
              <a:defRPr sz="1800">
                <a:solidFill>
                  <a:schemeClr val="bg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816725" y="548682"/>
            <a:ext cx="4859337" cy="144045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1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fi-FI" err="1"/>
              <a:t>Fifti</a:t>
            </a:r>
            <a:r>
              <a:rPr lang="fi-FI"/>
              <a:t> otsikko vaalealla taustall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B3CB5C-22E9-4042-92EE-7C27EA358E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7F9C5A6-7052-CE41-8D32-DE7769D502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16080" y="1989138"/>
            <a:ext cx="4859983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9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0495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kalv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59A811-D685-6F4A-AEF4-7D78E6B51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sp>
        <p:nvSpPr>
          <p:cNvPr id="4" name="Otsikko 1">
            <a:extLst>
              <a:ext uri="{FF2B5EF4-FFF2-40B4-BE49-F238E27FC236}">
                <a16:creationId xmlns:a16="http://schemas.microsoft.com/office/drawing/2014/main" id="{A9632FB5-9B1B-E0B3-235B-E36A2285BE14}"/>
              </a:ext>
            </a:extLst>
          </p:cNvPr>
          <p:cNvSpPr txBox="1">
            <a:spLocks/>
          </p:cNvSpPr>
          <p:nvPr userDrawn="1"/>
        </p:nvSpPr>
        <p:spPr>
          <a:xfrm>
            <a:off x="1055687" y="5625604"/>
            <a:ext cx="10080625" cy="864096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Arial Black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6600" b="0" i="0" u="none" strike="noStrike" kern="1200" cap="none" spc="0" normalizeH="0" baseline="0" noProof="0">
                <a:ln>
                  <a:noFill/>
                </a:ln>
                <a:solidFill>
                  <a:srgbClr val="D7F2FA"/>
                </a:solidFill>
                <a:effectLst/>
                <a:uLnTx/>
                <a:uFillTx/>
                <a:latin typeface="Arial Black"/>
                <a:ea typeface="+mj-ea"/>
                <a:cs typeface="Arial Black"/>
              </a:rPr>
              <a:t>#</a:t>
            </a:r>
            <a:r>
              <a:rPr kumimoji="0" lang="fi-FI" sz="6600" b="0" i="0" u="none" strike="noStrike" kern="1200" cap="none" spc="0" normalizeH="0" baseline="0" noProof="0" err="1">
                <a:ln>
                  <a:noFill/>
                </a:ln>
                <a:solidFill>
                  <a:srgbClr val="D7F2FA"/>
                </a:solidFill>
                <a:effectLst/>
                <a:uLnTx/>
                <a:uFillTx/>
                <a:latin typeface="Arial Black"/>
                <a:ea typeface="+mj-ea"/>
                <a:cs typeface="Arial Black"/>
              </a:rPr>
              <a:t>häsähommia</a:t>
            </a:r>
            <a:endParaRPr kumimoji="0" lang="fi-FI" sz="6600" b="0" i="0" u="none" strike="noStrike" kern="1200" cap="none" spc="0" normalizeH="0" baseline="0" noProof="0">
              <a:ln>
                <a:noFill/>
              </a:ln>
              <a:solidFill>
                <a:srgbClr val="D7F2FA"/>
              </a:solidFill>
              <a:effectLst/>
              <a:uLnTx/>
              <a:uFillTx/>
              <a:latin typeface="Arial Black"/>
              <a:ea typeface="+mj-ea"/>
              <a:cs typeface="Arial Black"/>
            </a:endParaRPr>
          </a:p>
        </p:txBody>
      </p:sp>
      <p:sp>
        <p:nvSpPr>
          <p:cNvPr id="5" name="Tekstiruutu 1">
            <a:extLst>
              <a:ext uri="{FF2B5EF4-FFF2-40B4-BE49-F238E27FC236}">
                <a16:creationId xmlns:a16="http://schemas.microsoft.com/office/drawing/2014/main" id="{228F955D-05D6-C32D-6C44-257E8E619D19}"/>
              </a:ext>
            </a:extLst>
          </p:cNvPr>
          <p:cNvSpPr txBox="1"/>
          <p:nvPr userDrawn="1"/>
        </p:nvSpPr>
        <p:spPr>
          <a:xfrm>
            <a:off x="1055688" y="6001657"/>
            <a:ext cx="16530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#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häsähommia</a:t>
            </a: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BFE636-52F1-EFD0-08B9-868C223F5B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5020" y="515993"/>
            <a:ext cx="5764722" cy="576472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1C1686-A864-E4A6-D013-5A768A11B679}"/>
              </a:ext>
            </a:extLst>
          </p:cNvPr>
          <p:cNvSpPr txBox="1"/>
          <p:nvPr userDrawn="1"/>
        </p:nvSpPr>
        <p:spPr>
          <a:xfrm>
            <a:off x="1055688" y="1767407"/>
            <a:ext cx="5442649" cy="1290804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4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Esityksen otsikko</a:t>
            </a:r>
            <a:endParaRPr kumimoji="0" lang="en-FI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kstiruutu 2">
            <a:extLst>
              <a:ext uri="{FF2B5EF4-FFF2-40B4-BE49-F238E27FC236}">
                <a16:creationId xmlns:a16="http://schemas.microsoft.com/office/drawing/2014/main" id="{EB5CE02E-DC11-A7D7-6E12-1E74CF07E37E}"/>
              </a:ext>
            </a:extLst>
          </p:cNvPr>
          <p:cNvSpPr txBox="1"/>
          <p:nvPr userDrawn="1"/>
        </p:nvSpPr>
        <p:spPr>
          <a:xfrm>
            <a:off x="1055688" y="3599553"/>
            <a:ext cx="50403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.xx.2024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Etunimi Sukunimi</a:t>
            </a:r>
          </a:p>
        </p:txBody>
      </p:sp>
    </p:spTree>
    <p:extLst>
      <p:ext uri="{BB962C8B-B14F-4D97-AF65-F5344CB8AC3E}">
        <p14:creationId xmlns:p14="http://schemas.microsoft.com/office/powerpoint/2010/main" val="32427941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iti-fifti 2 (musta lukitt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7A240A0-EC0C-F849-919E-726CBE055A3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/>
          </p:nvPr>
        </p:nvSpPr>
        <p:spPr>
          <a:xfrm>
            <a:off x="515938" y="548680"/>
            <a:ext cx="4859337" cy="124813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latin typeface="Arial Black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15938" y="1989138"/>
            <a:ext cx="4859337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9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CF7963-2318-CC45-A900-02136CBD6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  <p:sp>
        <p:nvSpPr>
          <p:cNvPr id="12" name="Tekstin paikkamerkki 6">
            <a:extLst>
              <a:ext uri="{FF2B5EF4-FFF2-40B4-BE49-F238E27FC236}">
                <a16:creationId xmlns:a16="http://schemas.microsoft.com/office/drawing/2014/main" id="{1961626C-30E4-2049-AE46-DD755FE5AE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16080" y="548680"/>
            <a:ext cx="4859983" cy="124813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C0B2B0D-7643-4340-BA07-93F51A1FD7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816080" y="1989138"/>
            <a:ext cx="4859983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bg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bg1"/>
                </a:solidFill>
                <a:latin typeface="Georgia"/>
                <a:cs typeface="Georgia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bg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90000"/>
              </a:lnSpc>
              <a:buFont typeface="Georgia" panose="02040502050405020303" pitchFamily="18" charset="0"/>
              <a:buChar char="–"/>
              <a:defRPr sz="1800">
                <a:solidFill>
                  <a:schemeClr val="bg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14492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688" y="548681"/>
            <a:ext cx="10080625" cy="1078364"/>
          </a:xfrm>
          <a:prstGeom prst="rect">
            <a:avLst/>
          </a:prstGeom>
        </p:spPr>
        <p:txBody>
          <a:bodyPr anchor="t"/>
          <a:lstStyle>
            <a:lvl1pPr algn="l"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3"/>
          </p:nvPr>
        </p:nvSpPr>
        <p:spPr>
          <a:xfrm>
            <a:off x="1775804" y="1627045"/>
            <a:ext cx="9360508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0" i="0">
                <a:latin typeface="Georgi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1774825" y="2528633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1775804" y="3428535"/>
            <a:ext cx="936050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 userDrawn="1">
            <p:ph type="body" sz="quarter" idx="16"/>
          </p:nvPr>
        </p:nvSpPr>
        <p:spPr>
          <a:xfrm>
            <a:off x="1774824" y="4328437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 userDrawn="1">
            <p:ph type="body" sz="quarter" idx="17"/>
          </p:nvPr>
        </p:nvSpPr>
        <p:spPr>
          <a:xfrm>
            <a:off x="1774824" y="5228338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2D61E7-C676-CB4B-A88C-6D5E87ED05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393B997C-7668-4298-BA40-150098A4EF3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7917096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ettelo T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3C4AC27-49F9-BB4D-81D3-665AB744D2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B477874-8C1D-E94F-A3D8-E16F5E599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548681"/>
            <a:ext cx="10080625" cy="1078364"/>
          </a:xfrm>
          <a:prstGeom prst="rect">
            <a:avLst/>
          </a:prstGeo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144EC256-532F-144F-A18F-24538A308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5805" y="1640951"/>
            <a:ext cx="9360508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Georgi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1D88BC63-4704-6447-AB37-6224F6547D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4826" y="2542539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D2C5BCCD-F064-7943-BCBE-33C3DA3694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5805" y="3442441"/>
            <a:ext cx="936050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04DA962D-B2D3-9647-A841-0720D47991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774825" y="4342343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1724C58E-0E8F-2C40-AB87-C13229EB75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74825" y="5242244"/>
            <a:ext cx="9361488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fi-FI" sz="2400" b="0" i="0" kern="1200" dirty="0" err="1">
                <a:solidFill>
                  <a:schemeClr val="bg1"/>
                </a:solidFill>
                <a:latin typeface="Georgia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791FFD7E-119C-492E-870A-9BBC3D1727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033773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55688" y="548681"/>
            <a:ext cx="10080624" cy="86409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1055688" y="1508786"/>
            <a:ext cx="10080624" cy="441576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7CFA92-6B46-5C4F-9253-7F92C92B0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FB2C9357-D73E-4A4C-925D-B2759AA6C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4874668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stapohjainen graafi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688" y="548680"/>
            <a:ext cx="10080624" cy="8863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055689" y="1509185"/>
            <a:ext cx="10078576" cy="460798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E2E6B1-389B-0B4D-B951-9D4353E5A1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600" y="6490800"/>
            <a:ext cx="961200" cy="181192"/>
          </a:xfrm>
          <a:prstGeom prst="rect">
            <a:avLst/>
          </a:prstGeom>
        </p:spPr>
      </p:pic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9F4EC56-8604-407C-BDED-F60638F43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0304984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3">
            <a:extLst>
              <a:ext uri="{FF2B5EF4-FFF2-40B4-BE49-F238E27FC236}">
                <a16:creationId xmlns:a16="http://schemas.microsoft.com/office/drawing/2014/main" id="{AE74E28C-5780-A543-ACC8-EE7D99F5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548680"/>
            <a:ext cx="10080625" cy="88634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8" name="Sisällön paikkamerkki 17">
            <a:extLst>
              <a:ext uri="{FF2B5EF4-FFF2-40B4-BE49-F238E27FC236}">
                <a16:creationId xmlns:a16="http://schemas.microsoft.com/office/drawing/2014/main" id="{4793DC74-8AA9-5E46-9DED-129AC46C11C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55688" y="1509185"/>
            <a:ext cx="10080625" cy="460798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9740BE-EF20-0841-BCE4-AAC3FE0DAE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9A975EE7-734F-4163-84B5-8B5DA25C9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957297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otsikko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29D1CE-82CA-EB46-B6CB-E493D3FAED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F747C22-ACFC-6443-ADB2-6B11DC6F28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549274"/>
            <a:ext cx="10080626" cy="5759451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algn="ctr">
              <a:lnSpc>
                <a:spcPct val="9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fi-FI"/>
              <a:t>Iso otsikko</a:t>
            </a:r>
            <a:endParaRPr lang="en-US"/>
          </a:p>
        </p:txBody>
      </p:sp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45C39987-6A31-4F9A-BC6C-E6B67059EC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86938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usotsikko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29D1CE-82CA-EB46-B6CB-E493D3FAED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600" y="6490800"/>
            <a:ext cx="962517" cy="18115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F747C22-ACFC-6443-ADB2-6B11DC6F28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2746473"/>
            <a:ext cx="10080626" cy="682527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fi-FI"/>
              <a:t>Perusotsikko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ECB3038-49B4-004B-B993-7B487852FE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5688" y="3669241"/>
            <a:ext cx="10080625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9EF2B599-884D-4599-8975-A9560AE77C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54314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ni otsikko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5689" y="1989138"/>
            <a:ext cx="10080624" cy="1632181"/>
          </a:xfrm>
          <a:prstGeom prst="rect">
            <a:avLst/>
          </a:prstGeom>
        </p:spPr>
        <p:txBody>
          <a:bodyPr bIns="140400" anchor="b" anchorCtr="0"/>
          <a:lstStyle>
            <a:lvl1pPr algn="ctr">
              <a:defRPr sz="4000" cap="none"/>
            </a:lvl1pPr>
          </a:lstStyle>
          <a:p>
            <a:r>
              <a:rPr lang="fi-FI"/>
              <a:t>Pieni otsikko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55689" y="3766311"/>
            <a:ext cx="10080624" cy="5757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Georgia"/>
                <a:cs typeface="Georgia"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7B64EB-9373-B24F-A3F8-8860C5C84A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0B11A6E-42AA-4090-BEF8-8EDBC7DDE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371632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9091095-618D-5B85-75EE-00CDF8026F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286204" y="86405"/>
            <a:ext cx="12311743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rgbClr val="D7F2F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5688" y="847896"/>
            <a:ext cx="10080625" cy="1130356"/>
          </a:xfrm>
          <a:prstGeom prst="rect">
            <a:avLst/>
          </a:prstGeom>
        </p:spPr>
        <p:txBody>
          <a:bodyPr/>
          <a:lstStyle>
            <a:lvl1pPr algn="l">
              <a:defRPr sz="3200"/>
            </a:lvl1pPr>
          </a:lstStyle>
          <a:p>
            <a:r>
              <a:rPr lang="fi-FI"/>
              <a:t>Otsikko</a:t>
            </a:r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1055688" y="1988543"/>
            <a:ext cx="10080625" cy="432048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4121" indent="-234945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3300" indent="-234945" algn="l" defTabSz="715415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34945" algn="l">
              <a:lnSpc>
                <a:spcPct val="10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CB09718-65AF-4C02-A869-F518B41AAFB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514708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sivu sininen">
    <p:bg>
      <p:bgPr>
        <a:solidFill>
          <a:srgbClr val="D7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C1A995A-56AB-004E-700A-DC144B8BFE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286204" y="86405"/>
            <a:ext cx="12311743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1055689" y="1988543"/>
            <a:ext cx="10080624" cy="432048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4121" indent="-234945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3300" indent="-234945" algn="l" defTabSz="715415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34945" algn="l">
              <a:lnSpc>
                <a:spcPct val="10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FBC4A8-05F8-5843-9AE4-11FC19955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CB09718-65AF-4C02-A869-F518B41AAFB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C3CB276-23C8-454C-F38C-E9DDBD94C7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847896"/>
            <a:ext cx="10080625" cy="1130356"/>
          </a:xfrm>
          <a:prstGeom prst="rect">
            <a:avLst/>
          </a:prstGeom>
        </p:spPr>
        <p:txBody>
          <a:bodyPr/>
          <a:lstStyle>
            <a:lvl1pPr algn="l">
              <a:defRPr sz="3200"/>
            </a:lvl1pPr>
          </a:lstStyle>
          <a:p>
            <a:r>
              <a:rPr lang="fi-FI"/>
              <a:t>Otsikk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185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iskyt-viisky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FBD2C0-8EAE-6F49-80B2-BFD76295107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7F2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B7113F7-4315-E6DE-B9E0-8E1B819A62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21828" y="86405"/>
            <a:ext cx="6382204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rgbClr val="D7F2F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39AF5149-3181-4CA0-F02E-C5ACB72A9A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286203" y="86405"/>
            <a:ext cx="6382204" cy="1377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tsikko</a:t>
            </a:r>
            <a:endParaRPr lang="en-FI"/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902551"/>
            <a:ext cx="4859337" cy="144045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15938" y="2343009"/>
            <a:ext cx="4859337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7533" indent="-228594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10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B3CB5C-22E9-4042-92EE-7C27EA358E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4" name="Tekstin paikkamerkki 6">
            <a:extLst>
              <a:ext uri="{FF2B5EF4-FFF2-40B4-BE49-F238E27FC236}">
                <a16:creationId xmlns:a16="http://schemas.microsoft.com/office/drawing/2014/main" id="{30A58AAE-4A5A-F11E-0B02-C1DDD62C361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6080" y="902551"/>
            <a:ext cx="4859337" cy="144045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DEA2266-26A0-D0DA-9C72-779F3DA79F0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16080" y="2343009"/>
            <a:ext cx="4859337" cy="4320182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-"/>
              <a:tabLst/>
              <a:defRPr sz="2400">
                <a:solidFill>
                  <a:schemeClr val="tx1"/>
                </a:solidFill>
                <a:latin typeface="Georgia"/>
                <a:cs typeface="Georgia"/>
              </a:defRPr>
            </a:lvl1pPr>
            <a:lvl2pPr marL="476239" indent="-237061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2000">
                <a:solidFill>
                  <a:schemeClr val="tx1"/>
                </a:solidFill>
                <a:latin typeface="Georgia"/>
                <a:cs typeface="Georgia"/>
              </a:defRPr>
            </a:lvl2pPr>
            <a:lvl3pPr marL="717533" indent="-228594" algn="l">
              <a:lnSpc>
                <a:spcPct val="100000"/>
              </a:lnSpc>
              <a:spcBef>
                <a:spcPts val="800"/>
              </a:spcBef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3pPr>
            <a:lvl4pPr marL="958827" indent="-228594" algn="l">
              <a:lnSpc>
                <a:spcPct val="100000"/>
              </a:lnSpc>
              <a:buFont typeface="Georgia" panose="02040502050405020303" pitchFamily="18" charset="0"/>
              <a:buChar char="–"/>
              <a:defRPr sz="1800">
                <a:solidFill>
                  <a:schemeClr val="tx1"/>
                </a:solidFill>
                <a:latin typeface="Georgia"/>
                <a:cs typeface="Georgia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Dian numeron paikkamerkki 2">
            <a:extLst>
              <a:ext uri="{FF2B5EF4-FFF2-40B4-BE49-F238E27FC236}">
                <a16:creationId xmlns:a16="http://schemas.microsoft.com/office/drawing/2014/main" id="{143E89E3-60D8-4F73-83CD-27E76002D9B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24400" y="6356350"/>
            <a:ext cx="2743200" cy="365125"/>
          </a:xfrm>
        </p:spPr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8015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6CEF79AD-87C7-7922-48FF-8827344574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7881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F79AD-87C7-7922-48FF-8827344574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2942AC74-591F-8E4A-94B1-02D5D050B810}"/>
              </a:ext>
            </a:extLst>
          </p:cNvPr>
          <p:cNvGrpSpPr/>
          <p:nvPr userDrawn="1"/>
        </p:nvGrpSpPr>
        <p:grpSpPr>
          <a:xfrm rot="5400000">
            <a:off x="6718948" y="-6033220"/>
            <a:ext cx="1970380" cy="8975724"/>
            <a:chOff x="-2291223" y="-378956"/>
            <a:chExt cx="1970380" cy="897572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C344630-F2C6-6B44-BF25-FA0D6C3FA0CE}"/>
                </a:ext>
              </a:extLst>
            </p:cNvPr>
            <p:cNvSpPr/>
            <p:nvPr userDrawn="1"/>
          </p:nvSpPr>
          <p:spPr>
            <a:xfrm>
              <a:off x="-2291223" y="-378956"/>
              <a:ext cx="1970380" cy="897572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10" name="Ellipsi 28">
              <a:extLst>
                <a:ext uri="{FF2B5EF4-FFF2-40B4-BE49-F238E27FC236}">
                  <a16:creationId xmlns:a16="http://schemas.microsoft.com/office/drawing/2014/main" id="{F3F0AC9E-66AF-494F-8DFF-41330C711249}"/>
                </a:ext>
              </a:extLst>
            </p:cNvPr>
            <p:cNvSpPr/>
            <p:nvPr userDrawn="1"/>
          </p:nvSpPr>
          <p:spPr>
            <a:xfrm>
              <a:off x="-1297651" y="-80"/>
              <a:ext cx="719816" cy="697109"/>
            </a:xfrm>
            <a:prstGeom prst="ellipse">
              <a:avLst/>
            </a:prstGeom>
            <a:solidFill>
              <a:srgbClr val="FDE8ED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" name="Ellipsi 29">
              <a:extLst>
                <a:ext uri="{FF2B5EF4-FFF2-40B4-BE49-F238E27FC236}">
                  <a16:creationId xmlns:a16="http://schemas.microsoft.com/office/drawing/2014/main" id="{A11359AA-621E-3346-9DBF-AB1C0C0941D5}"/>
                </a:ext>
              </a:extLst>
            </p:cNvPr>
            <p:cNvSpPr/>
            <p:nvPr userDrawn="1"/>
          </p:nvSpPr>
          <p:spPr>
            <a:xfrm>
              <a:off x="-1297651" y="880127"/>
              <a:ext cx="719816" cy="697109"/>
            </a:xfrm>
            <a:prstGeom prst="ellipse">
              <a:avLst/>
            </a:prstGeom>
            <a:solidFill>
              <a:srgbClr val="FACDD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Ellipsi 30">
              <a:extLst>
                <a:ext uri="{FF2B5EF4-FFF2-40B4-BE49-F238E27FC236}">
                  <a16:creationId xmlns:a16="http://schemas.microsoft.com/office/drawing/2014/main" id="{2A9DC023-53D8-9344-99D2-B8E357D6D572}"/>
                </a:ext>
              </a:extLst>
            </p:cNvPr>
            <p:cNvSpPr/>
            <p:nvPr userDrawn="1"/>
          </p:nvSpPr>
          <p:spPr>
            <a:xfrm>
              <a:off x="-1297651" y="1760254"/>
              <a:ext cx="719816" cy="697109"/>
            </a:xfrm>
            <a:prstGeom prst="ellipse">
              <a:avLst/>
            </a:prstGeom>
            <a:solidFill>
              <a:srgbClr val="FFEAD3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Ellipsi 31">
              <a:extLst>
                <a:ext uri="{FF2B5EF4-FFF2-40B4-BE49-F238E27FC236}">
                  <a16:creationId xmlns:a16="http://schemas.microsoft.com/office/drawing/2014/main" id="{0A2A179C-255F-D04B-80FF-42967DB7F036}"/>
                </a:ext>
              </a:extLst>
            </p:cNvPr>
            <p:cNvSpPr/>
            <p:nvPr userDrawn="1"/>
          </p:nvSpPr>
          <p:spPr>
            <a:xfrm>
              <a:off x="-1297691" y="2640381"/>
              <a:ext cx="719816" cy="697109"/>
            </a:xfrm>
            <a:prstGeom prst="ellipse">
              <a:avLst/>
            </a:prstGeom>
            <a:solidFill>
              <a:srgbClr val="FFEF7F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Ellipsi 32">
              <a:extLst>
                <a:ext uri="{FF2B5EF4-FFF2-40B4-BE49-F238E27FC236}">
                  <a16:creationId xmlns:a16="http://schemas.microsoft.com/office/drawing/2014/main" id="{AB17063A-4624-F54B-B3EF-CE2D6E04A700}"/>
                </a:ext>
              </a:extLst>
            </p:cNvPr>
            <p:cNvSpPr/>
            <p:nvPr userDrawn="1"/>
          </p:nvSpPr>
          <p:spPr>
            <a:xfrm>
              <a:off x="-1297691" y="3520508"/>
              <a:ext cx="719816" cy="697109"/>
            </a:xfrm>
            <a:prstGeom prst="ellipse">
              <a:avLst/>
            </a:prstGeom>
            <a:solidFill>
              <a:srgbClr val="E0F3D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Ellipsi 32">
              <a:extLst>
                <a:ext uri="{FF2B5EF4-FFF2-40B4-BE49-F238E27FC236}">
                  <a16:creationId xmlns:a16="http://schemas.microsoft.com/office/drawing/2014/main" id="{830807A7-7F2F-9949-880E-4F00B349204B}"/>
                </a:ext>
              </a:extLst>
            </p:cNvPr>
            <p:cNvSpPr/>
            <p:nvPr userDrawn="1"/>
          </p:nvSpPr>
          <p:spPr>
            <a:xfrm>
              <a:off x="-1297691" y="4400635"/>
              <a:ext cx="719816" cy="697109"/>
            </a:xfrm>
            <a:prstGeom prst="ellipse">
              <a:avLst/>
            </a:prstGeom>
            <a:solidFill>
              <a:srgbClr val="BFE0D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Ellipsi 32">
              <a:extLst>
                <a:ext uri="{FF2B5EF4-FFF2-40B4-BE49-F238E27FC236}">
                  <a16:creationId xmlns:a16="http://schemas.microsoft.com/office/drawing/2014/main" id="{F5891E7E-86DE-AA41-9599-DAFDA72B46F3}"/>
                </a:ext>
              </a:extLst>
            </p:cNvPr>
            <p:cNvSpPr/>
            <p:nvPr userDrawn="1"/>
          </p:nvSpPr>
          <p:spPr>
            <a:xfrm>
              <a:off x="-1297691" y="5280762"/>
              <a:ext cx="719816" cy="697109"/>
            </a:xfrm>
            <a:prstGeom prst="ellipse">
              <a:avLst/>
            </a:prstGeom>
            <a:solidFill>
              <a:srgbClr val="D7F2FA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Ellipsi 32">
              <a:extLst>
                <a:ext uri="{FF2B5EF4-FFF2-40B4-BE49-F238E27FC236}">
                  <a16:creationId xmlns:a16="http://schemas.microsoft.com/office/drawing/2014/main" id="{A75BE3D2-9926-C94A-926D-1C717ED44BE3}"/>
                </a:ext>
              </a:extLst>
            </p:cNvPr>
            <p:cNvSpPr/>
            <p:nvPr userDrawn="1"/>
          </p:nvSpPr>
          <p:spPr>
            <a:xfrm>
              <a:off x="-1297663" y="6160891"/>
              <a:ext cx="719816" cy="697109"/>
            </a:xfrm>
            <a:prstGeom prst="ellipse">
              <a:avLst/>
            </a:prstGeom>
            <a:solidFill>
              <a:srgbClr val="C9DBEC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" name="Ellipsi 28">
              <a:extLst>
                <a:ext uri="{FF2B5EF4-FFF2-40B4-BE49-F238E27FC236}">
                  <a16:creationId xmlns:a16="http://schemas.microsoft.com/office/drawing/2014/main" id="{7A383D4D-06B8-9948-AF8E-B78F441800DF}"/>
                </a:ext>
              </a:extLst>
            </p:cNvPr>
            <p:cNvSpPr/>
            <p:nvPr userDrawn="1"/>
          </p:nvSpPr>
          <p:spPr>
            <a:xfrm>
              <a:off x="-1749222" y="-74"/>
              <a:ext cx="719816" cy="697109"/>
            </a:xfrm>
            <a:prstGeom prst="ellipse">
              <a:avLst/>
            </a:prstGeom>
            <a:solidFill>
              <a:srgbClr val="FBD1DC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" name="Ellipsi 29">
              <a:extLst>
                <a:ext uri="{FF2B5EF4-FFF2-40B4-BE49-F238E27FC236}">
                  <a16:creationId xmlns:a16="http://schemas.microsoft.com/office/drawing/2014/main" id="{10B226F3-256B-C149-9FE4-2169AC8BAA77}"/>
                </a:ext>
              </a:extLst>
            </p:cNvPr>
            <p:cNvSpPr/>
            <p:nvPr userDrawn="1"/>
          </p:nvSpPr>
          <p:spPr>
            <a:xfrm>
              <a:off x="-1749222" y="880127"/>
              <a:ext cx="719816" cy="697109"/>
            </a:xfrm>
            <a:prstGeom prst="ellipse">
              <a:avLst/>
            </a:prstGeom>
            <a:solidFill>
              <a:srgbClr val="E8114B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" name="Ellipsi 30">
              <a:extLst>
                <a:ext uri="{FF2B5EF4-FFF2-40B4-BE49-F238E27FC236}">
                  <a16:creationId xmlns:a16="http://schemas.microsoft.com/office/drawing/2014/main" id="{1E241F7E-51AD-624C-9C6B-71BB4FDD86EF}"/>
                </a:ext>
              </a:extLst>
            </p:cNvPr>
            <p:cNvSpPr/>
            <p:nvPr userDrawn="1"/>
          </p:nvSpPr>
          <p:spPr>
            <a:xfrm>
              <a:off x="-1749222" y="1760254"/>
              <a:ext cx="719816" cy="697109"/>
            </a:xfrm>
            <a:prstGeom prst="ellipse">
              <a:avLst/>
            </a:prstGeom>
            <a:solidFill>
              <a:srgbClr val="FF9F3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" name="Ellipsi 31">
              <a:extLst>
                <a:ext uri="{FF2B5EF4-FFF2-40B4-BE49-F238E27FC236}">
                  <a16:creationId xmlns:a16="http://schemas.microsoft.com/office/drawing/2014/main" id="{5DA7310D-F100-154F-9FD8-680FC89BCEBE}"/>
                </a:ext>
              </a:extLst>
            </p:cNvPr>
            <p:cNvSpPr/>
            <p:nvPr userDrawn="1"/>
          </p:nvSpPr>
          <p:spPr>
            <a:xfrm>
              <a:off x="-1749236" y="2640381"/>
              <a:ext cx="719816" cy="697109"/>
            </a:xfrm>
            <a:prstGeom prst="ellipse">
              <a:avLst/>
            </a:prstGeom>
            <a:solidFill>
              <a:srgbClr val="FFE00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" name="Ellipsi 32">
              <a:extLst>
                <a:ext uri="{FF2B5EF4-FFF2-40B4-BE49-F238E27FC236}">
                  <a16:creationId xmlns:a16="http://schemas.microsoft.com/office/drawing/2014/main" id="{7C47C4D0-D638-4744-8600-7DCFD3641E4D}"/>
                </a:ext>
              </a:extLst>
            </p:cNvPr>
            <p:cNvSpPr/>
            <p:nvPr userDrawn="1"/>
          </p:nvSpPr>
          <p:spPr>
            <a:xfrm>
              <a:off x="-1749236" y="3520508"/>
              <a:ext cx="719816" cy="697109"/>
            </a:xfrm>
            <a:prstGeom prst="ellipse">
              <a:avLst/>
            </a:prstGeom>
            <a:solidFill>
              <a:srgbClr val="73C92D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" name="Ellipsi 32">
              <a:extLst>
                <a:ext uri="{FF2B5EF4-FFF2-40B4-BE49-F238E27FC236}">
                  <a16:creationId xmlns:a16="http://schemas.microsoft.com/office/drawing/2014/main" id="{36513781-BCA3-1F42-BD7B-76EC009BCD7B}"/>
                </a:ext>
              </a:extLst>
            </p:cNvPr>
            <p:cNvSpPr/>
            <p:nvPr userDrawn="1"/>
          </p:nvSpPr>
          <p:spPr>
            <a:xfrm>
              <a:off x="-1749236" y="4400635"/>
              <a:ext cx="719816" cy="697109"/>
            </a:xfrm>
            <a:prstGeom prst="ellipse">
              <a:avLst/>
            </a:prstGeom>
            <a:solidFill>
              <a:srgbClr val="00854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" name="Ellipsi 32">
              <a:extLst>
                <a:ext uri="{FF2B5EF4-FFF2-40B4-BE49-F238E27FC236}">
                  <a16:creationId xmlns:a16="http://schemas.microsoft.com/office/drawing/2014/main" id="{E5A022FD-A22F-C84B-90E8-C84F58039CCA}"/>
                </a:ext>
              </a:extLst>
            </p:cNvPr>
            <p:cNvSpPr/>
            <p:nvPr userDrawn="1"/>
          </p:nvSpPr>
          <p:spPr>
            <a:xfrm>
              <a:off x="-1749236" y="5280762"/>
              <a:ext cx="719816" cy="697109"/>
            </a:xfrm>
            <a:prstGeom prst="ellipse">
              <a:avLst/>
            </a:prstGeom>
            <a:solidFill>
              <a:srgbClr val="75CFEB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" name="Ellipsi 32">
              <a:extLst>
                <a:ext uri="{FF2B5EF4-FFF2-40B4-BE49-F238E27FC236}">
                  <a16:creationId xmlns:a16="http://schemas.microsoft.com/office/drawing/2014/main" id="{EDB9634E-0B79-CD48-B1D8-F8816D614AEB}"/>
                </a:ext>
              </a:extLst>
            </p:cNvPr>
            <p:cNvSpPr/>
            <p:nvPr userDrawn="1"/>
          </p:nvSpPr>
          <p:spPr>
            <a:xfrm>
              <a:off x="-1749226" y="6160891"/>
              <a:ext cx="719816" cy="697109"/>
            </a:xfrm>
            <a:prstGeom prst="ellipse">
              <a:avLst/>
            </a:prstGeom>
            <a:solidFill>
              <a:srgbClr val="367ABA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8BBE36-0E53-8C44-A477-4D352CEC3254}"/>
                </a:ext>
              </a:extLst>
            </p:cNvPr>
            <p:cNvSpPr txBox="1"/>
            <p:nvPr userDrawn="1"/>
          </p:nvSpPr>
          <p:spPr>
            <a:xfrm rot="16200000">
              <a:off x="-1977822" y="7117573"/>
              <a:ext cx="1221261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FI" sz="1600" b="0" i="0">
                  <a:latin typeface="+mn-lt"/>
                </a:rPr>
                <a:t>Sitran väripaletti. Nappaa väri pipetillä.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F3FA64-3732-8A45-A7C2-8EAB4290F358}"/>
                </a:ext>
              </a:extLst>
            </p:cNvPr>
            <p:cNvSpPr txBox="1"/>
            <p:nvPr userDrawn="1"/>
          </p:nvSpPr>
          <p:spPr>
            <a:xfrm rot="16200000">
              <a:off x="-2443800" y="6429331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Mustikka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6B07822-BAE3-F044-A860-7D548ECDB061}"/>
                </a:ext>
              </a:extLst>
            </p:cNvPr>
            <p:cNvSpPr txBox="1"/>
            <p:nvPr userDrawn="1"/>
          </p:nvSpPr>
          <p:spPr>
            <a:xfrm rot="16200000">
              <a:off x="-2443800" y="55606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Tellus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5EE0087-1CE7-B046-8FC6-E5FD942E3708}"/>
                </a:ext>
              </a:extLst>
            </p:cNvPr>
            <p:cNvSpPr txBox="1"/>
            <p:nvPr userDrawn="1"/>
          </p:nvSpPr>
          <p:spPr>
            <a:xfrm rot="16200000">
              <a:off x="-2443800" y="4675341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Havu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2D49530-5F92-0349-99E1-9F2629D5FF59}"/>
                </a:ext>
              </a:extLst>
            </p:cNvPr>
            <p:cNvSpPr txBox="1"/>
            <p:nvPr userDrawn="1"/>
          </p:nvSpPr>
          <p:spPr>
            <a:xfrm rot="16200000">
              <a:off x="-2443800" y="37858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Kerkkä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CD66CD-35DA-DE42-AFAA-77D342190B97}"/>
                </a:ext>
              </a:extLst>
            </p:cNvPr>
            <p:cNvSpPr txBox="1"/>
            <p:nvPr userDrawn="1"/>
          </p:nvSpPr>
          <p:spPr>
            <a:xfrm rot="16200000">
              <a:off x="-2443800" y="2921749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Voikukka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1C51FE8-ED43-FB40-8C6B-1E94B8B33A2D}"/>
                </a:ext>
              </a:extLst>
            </p:cNvPr>
            <p:cNvSpPr txBox="1"/>
            <p:nvPr userDrawn="1"/>
          </p:nvSpPr>
          <p:spPr>
            <a:xfrm rot="16200000">
              <a:off x="-2443800" y="20364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Tyrni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40C15AF-77BF-494B-8532-A52982A39E8F}"/>
                </a:ext>
              </a:extLst>
            </p:cNvPr>
            <p:cNvSpPr txBox="1"/>
            <p:nvPr userDrawn="1"/>
          </p:nvSpPr>
          <p:spPr>
            <a:xfrm rot="16200000">
              <a:off x="-2443800" y="1155457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Puolukka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44A8471-398C-EE46-9C24-25F675BA8E5F}"/>
                </a:ext>
              </a:extLst>
            </p:cNvPr>
            <p:cNvSpPr txBox="1"/>
            <p:nvPr userDrawn="1"/>
          </p:nvSpPr>
          <p:spPr>
            <a:xfrm rot="16200000">
              <a:off x="-2359159" y="181323"/>
              <a:ext cx="81280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Mansikka</a:t>
              </a:r>
            </a:p>
            <a:p>
              <a:pPr algn="ctr"/>
              <a:r>
                <a:rPr lang="fi-FI" sz="1100" b="0" i="0" err="1">
                  <a:latin typeface="+mn-lt"/>
                </a:rPr>
                <a:t>smoothie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A1888C-BCE9-0640-B4D3-3EBF7BF68556}"/>
                </a:ext>
              </a:extLst>
            </p:cNvPr>
            <p:cNvSpPr txBox="1"/>
            <p:nvPr userDrawn="1"/>
          </p:nvSpPr>
          <p:spPr>
            <a:xfrm rot="16200000">
              <a:off x="-1726635" y="6150296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1100" b="0" i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7A5C2D2-07FE-DA47-9E5C-4C9529C615C0}"/>
                </a:ext>
              </a:extLst>
            </p:cNvPr>
            <p:cNvSpPr txBox="1"/>
            <p:nvPr userDrawn="1"/>
          </p:nvSpPr>
          <p:spPr>
            <a:xfrm rot="16200000">
              <a:off x="-1726635" y="5306214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58DC66A-05B9-8547-BD04-E3557F77FAB8}"/>
                </a:ext>
              </a:extLst>
            </p:cNvPr>
            <p:cNvSpPr txBox="1"/>
            <p:nvPr userDrawn="1"/>
          </p:nvSpPr>
          <p:spPr>
            <a:xfrm rot="16200000">
              <a:off x="-1726635" y="4402929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1100" b="0" i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7235BB5-E89A-A241-8A3D-BF8C98F2C2D8}"/>
                </a:ext>
              </a:extLst>
            </p:cNvPr>
            <p:cNvSpPr txBox="1"/>
            <p:nvPr userDrawn="1"/>
          </p:nvSpPr>
          <p:spPr>
            <a:xfrm rot="16200000">
              <a:off x="-1726635" y="3506014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1F7AE7A-C9D8-2A49-B80B-2E9C2CEC2DD5}"/>
                </a:ext>
              </a:extLst>
            </p:cNvPr>
            <p:cNvSpPr txBox="1"/>
            <p:nvPr userDrawn="1"/>
          </p:nvSpPr>
          <p:spPr>
            <a:xfrm rot="16200000">
              <a:off x="-1726635" y="264191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732FCE3-6B39-254A-9F27-01493F244E81}"/>
                </a:ext>
              </a:extLst>
            </p:cNvPr>
            <p:cNvSpPr txBox="1"/>
            <p:nvPr userDrawn="1"/>
          </p:nvSpPr>
          <p:spPr>
            <a:xfrm rot="16200000">
              <a:off x="-1726635" y="1777822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4B9DA97-F029-2A4F-A8A8-BE7A84A17DFB}"/>
                </a:ext>
              </a:extLst>
            </p:cNvPr>
            <p:cNvSpPr txBox="1"/>
            <p:nvPr userDrawn="1"/>
          </p:nvSpPr>
          <p:spPr>
            <a:xfrm rot="16200000">
              <a:off x="-1726635" y="84171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1100" b="0" i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01446F1-F283-9B42-80CC-74D4AB06A0A2}"/>
                </a:ext>
              </a:extLst>
            </p:cNvPr>
            <p:cNvSpPr txBox="1"/>
            <p:nvPr userDrawn="1"/>
          </p:nvSpPr>
          <p:spPr>
            <a:xfrm rot="16200000">
              <a:off x="-1726635" y="-2237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94033F7A-8E83-E04D-AB41-5D7A99CFE14D}"/>
              </a:ext>
            </a:extLst>
          </p:cNvPr>
          <p:cNvSpPr/>
          <p:nvPr userDrawn="1"/>
        </p:nvSpPr>
        <p:spPr>
          <a:xfrm rot="5400000">
            <a:off x="263086" y="-2792632"/>
            <a:ext cx="1970380" cy="2494548"/>
          </a:xfrm>
          <a:prstGeom prst="rect">
            <a:avLst/>
          </a:prstGeom>
          <a:solidFill>
            <a:srgbClr val="E8114B"/>
          </a:solidFill>
          <a:ln w="12700">
            <a:noFill/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0ABD6-61E1-9545-A711-E47F43669A49}"/>
              </a:ext>
            </a:extLst>
          </p:cNvPr>
          <p:cNvSpPr txBox="1"/>
          <p:nvPr userDrawn="1"/>
        </p:nvSpPr>
        <p:spPr>
          <a:xfrm>
            <a:off x="348808" y="-2157912"/>
            <a:ext cx="178283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FI" sz="1600" b="0" i="0">
                <a:solidFill>
                  <a:schemeClr val="bg1"/>
                </a:solidFill>
                <a:latin typeface="+mn-lt"/>
              </a:rPr>
              <a:t>Muista säilyttää </a:t>
            </a:r>
            <a:r>
              <a:rPr lang="en-FI" sz="1600" b="0" i="0">
                <a:solidFill>
                  <a:schemeClr val="bg1"/>
                </a:solidFill>
                <a:latin typeface="+mj-lt"/>
              </a:rPr>
              <a:t>kohteen</a:t>
            </a:r>
            <a:r>
              <a:rPr lang="en-FI" sz="1600" b="0" i="0">
                <a:solidFill>
                  <a:schemeClr val="bg1"/>
                </a:solidFill>
                <a:latin typeface="+mn-lt"/>
              </a:rPr>
              <a:t> </a:t>
            </a:r>
            <a:r>
              <a:rPr lang="en-FI" sz="1600" b="0" i="0">
                <a:solidFill>
                  <a:schemeClr val="bg1"/>
                </a:solidFill>
                <a:latin typeface="+mj-lt"/>
              </a:rPr>
              <a:t>teema </a:t>
            </a:r>
            <a:r>
              <a:rPr lang="en-FI" sz="1600" b="0" i="0">
                <a:solidFill>
                  <a:schemeClr val="bg1"/>
                </a:solidFill>
                <a:latin typeface="+mn-lt"/>
              </a:rPr>
              <a:t>jos tuot vanhoja kalvoja osaksi esitystäsi!</a:t>
            </a:r>
          </a:p>
        </p:txBody>
      </p:sp>
      <p:sp>
        <p:nvSpPr>
          <p:cNvPr id="39" name="Dian numeron paikkamerkki 38">
            <a:extLst>
              <a:ext uri="{FF2B5EF4-FFF2-40B4-BE49-F238E27FC236}">
                <a16:creationId xmlns:a16="http://schemas.microsoft.com/office/drawing/2014/main" id="{DD76F944-88E7-44E6-A00A-B708CD1CB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36714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97" r:id="rId18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239178" indent="-239178" algn="l" defTabSz="609585" rtl="0" eaLnBrk="1" latinLnBrk="0" hangingPunct="1">
        <a:spcBef>
          <a:spcPct val="20000"/>
        </a:spcBef>
        <a:buFont typeface="Lucida Grande"/>
        <a:buChar char="-"/>
        <a:defRPr sz="2133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476239" indent="-237061" algn="l" defTabSz="609585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867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715415" indent="-228594" algn="l" defTabSz="609585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960943" indent="-228594" algn="l" defTabSz="609585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2438339" indent="0" algn="ctr" defTabSz="609585" rtl="0" eaLnBrk="1" latinLnBrk="0" hangingPunct="1">
        <a:spcBef>
          <a:spcPct val="20000"/>
        </a:spcBef>
        <a:buFont typeface="Arial"/>
        <a:buNone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386">
          <p15:clr>
            <a:srgbClr val="F26B43"/>
          </p15:clr>
        </p15:guide>
        <p15:guide id="4" pos="2933">
          <p15:clr>
            <a:srgbClr val="F26B43"/>
          </p15:clr>
        </p15:guide>
        <p15:guide id="5" pos="2479">
          <p15:clr>
            <a:srgbClr val="F26B43"/>
          </p15:clr>
        </p15:guide>
        <p15:guide id="6" pos="2026">
          <p15:clr>
            <a:srgbClr val="F26B43"/>
          </p15:clr>
        </p15:guide>
        <p15:guide id="7" pos="1572">
          <p15:clr>
            <a:srgbClr val="F26B43"/>
          </p15:clr>
        </p15:guide>
        <p15:guide id="8" pos="1118">
          <p15:clr>
            <a:srgbClr val="F26B43"/>
          </p15:clr>
        </p15:guide>
        <p15:guide id="9" pos="665">
          <p15:clr>
            <a:srgbClr val="F26B43"/>
          </p15:clr>
        </p15:guide>
        <p15:guide id="10" pos="211">
          <p15:clr>
            <a:srgbClr val="F26B43"/>
          </p15:clr>
        </p15:guide>
        <p15:guide id="11" pos="4294">
          <p15:clr>
            <a:srgbClr val="F26B43"/>
          </p15:clr>
        </p15:guide>
        <p15:guide id="12" pos="4747">
          <p15:clr>
            <a:srgbClr val="F26B43"/>
          </p15:clr>
        </p15:guide>
        <p15:guide id="13" pos="5201">
          <p15:clr>
            <a:srgbClr val="F26B43"/>
          </p15:clr>
        </p15:guide>
        <p15:guide id="14" pos="5654">
          <p15:clr>
            <a:srgbClr val="F26B43"/>
          </p15:clr>
        </p15:guide>
        <p15:guide id="15" pos="6108">
          <p15:clr>
            <a:srgbClr val="F26B43"/>
          </p15:clr>
        </p15:guide>
        <p15:guide id="16" pos="6562">
          <p15:clr>
            <a:srgbClr val="F26B43"/>
          </p15:clr>
        </p15:guide>
        <p15:guide id="17" pos="7015">
          <p15:clr>
            <a:srgbClr val="F26B43"/>
          </p15:clr>
        </p15:guide>
        <p15:guide id="18" pos="7469">
          <p15:clr>
            <a:srgbClr val="F26B43"/>
          </p15:clr>
        </p15:guide>
        <p15:guide id="19" orient="horz" pos="1706">
          <p15:clr>
            <a:srgbClr val="F26B43"/>
          </p15:clr>
        </p15:guide>
        <p15:guide id="20" orient="horz" pos="1253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346">
          <p15:clr>
            <a:srgbClr val="F26B43"/>
          </p15:clr>
        </p15:guide>
        <p15:guide id="23" orient="horz" pos="2614">
          <p15:clr>
            <a:srgbClr val="F26B43"/>
          </p15:clr>
        </p15:guide>
        <p15:guide id="24" orient="horz" pos="3067">
          <p15:clr>
            <a:srgbClr val="F26B43"/>
          </p15:clr>
        </p15:guide>
        <p15:guide id="25" orient="horz" pos="3521">
          <p15:clr>
            <a:srgbClr val="F26B43"/>
          </p15:clr>
        </p15:guide>
        <p15:guide id="26" orient="horz" pos="3974">
          <p15:clr>
            <a:srgbClr val="F26B43"/>
          </p15:clr>
        </p15:guide>
        <p15:guide id="27" orient="horz" pos="119">
          <p15:clr>
            <a:srgbClr val="F26B43"/>
          </p15:clr>
        </p15:guide>
        <p15:guide id="28" orient="horz" pos="232">
          <p15:clr>
            <a:srgbClr val="F26B43"/>
          </p15:clr>
        </p15:guide>
        <p15:guide id="30" orient="horz">
          <p15:clr>
            <a:srgbClr val="F26B43"/>
          </p15:clr>
        </p15:guide>
        <p15:guide id="31" orient="horz" pos="4088">
          <p15:clr>
            <a:srgbClr val="F26B43"/>
          </p15:clr>
        </p15:guide>
        <p15:guide id="33" orient="horz" pos="4201">
          <p15:clr>
            <a:srgbClr val="F26B43"/>
          </p15:clr>
        </p15:guide>
        <p15:guide id="34" orient="horz" pos="4320">
          <p15:clr>
            <a:srgbClr val="F26B43"/>
          </p15:clr>
        </p15:guide>
        <p15:guide id="35" pos="7582">
          <p15:clr>
            <a:srgbClr val="F26B43"/>
          </p15:clr>
        </p15:guide>
        <p15:guide id="37" pos="98">
          <p15:clr>
            <a:srgbClr val="F26B43"/>
          </p15:clr>
        </p15:guide>
        <p15:guide id="39">
          <p15:clr>
            <a:srgbClr val="F26B43"/>
          </p15:clr>
        </p15:guide>
        <p15:guide id="40" pos="76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7C3A576B-1451-CA31-833A-4F1A522CF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91212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3A576B-1451-CA31-833A-4F1A522CF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2942AC74-591F-8E4A-94B1-02D5D050B810}"/>
              </a:ext>
            </a:extLst>
          </p:cNvPr>
          <p:cNvGrpSpPr/>
          <p:nvPr userDrawn="1"/>
        </p:nvGrpSpPr>
        <p:grpSpPr>
          <a:xfrm rot="5400000">
            <a:off x="6718948" y="-6033220"/>
            <a:ext cx="1970380" cy="8975724"/>
            <a:chOff x="-2291223" y="-378956"/>
            <a:chExt cx="1970380" cy="897572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C344630-F2C6-6B44-BF25-FA0D6C3FA0CE}"/>
                </a:ext>
              </a:extLst>
            </p:cNvPr>
            <p:cNvSpPr/>
            <p:nvPr userDrawn="1"/>
          </p:nvSpPr>
          <p:spPr>
            <a:xfrm>
              <a:off x="-2291223" y="-378956"/>
              <a:ext cx="1970380" cy="897572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10" name="Ellipsi 28">
              <a:extLst>
                <a:ext uri="{FF2B5EF4-FFF2-40B4-BE49-F238E27FC236}">
                  <a16:creationId xmlns:a16="http://schemas.microsoft.com/office/drawing/2014/main" id="{F3F0AC9E-66AF-494F-8DFF-41330C711249}"/>
                </a:ext>
              </a:extLst>
            </p:cNvPr>
            <p:cNvSpPr/>
            <p:nvPr userDrawn="1"/>
          </p:nvSpPr>
          <p:spPr>
            <a:xfrm>
              <a:off x="-1297651" y="-80"/>
              <a:ext cx="719816" cy="697109"/>
            </a:xfrm>
            <a:prstGeom prst="ellipse">
              <a:avLst/>
            </a:prstGeom>
            <a:solidFill>
              <a:srgbClr val="FDE8ED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" name="Ellipsi 29">
              <a:extLst>
                <a:ext uri="{FF2B5EF4-FFF2-40B4-BE49-F238E27FC236}">
                  <a16:creationId xmlns:a16="http://schemas.microsoft.com/office/drawing/2014/main" id="{A11359AA-621E-3346-9DBF-AB1C0C0941D5}"/>
                </a:ext>
              </a:extLst>
            </p:cNvPr>
            <p:cNvSpPr/>
            <p:nvPr userDrawn="1"/>
          </p:nvSpPr>
          <p:spPr>
            <a:xfrm>
              <a:off x="-1297651" y="880127"/>
              <a:ext cx="719816" cy="697109"/>
            </a:xfrm>
            <a:prstGeom prst="ellipse">
              <a:avLst/>
            </a:prstGeom>
            <a:solidFill>
              <a:srgbClr val="FACDD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Ellipsi 30">
              <a:extLst>
                <a:ext uri="{FF2B5EF4-FFF2-40B4-BE49-F238E27FC236}">
                  <a16:creationId xmlns:a16="http://schemas.microsoft.com/office/drawing/2014/main" id="{2A9DC023-53D8-9344-99D2-B8E357D6D572}"/>
                </a:ext>
              </a:extLst>
            </p:cNvPr>
            <p:cNvSpPr/>
            <p:nvPr userDrawn="1"/>
          </p:nvSpPr>
          <p:spPr>
            <a:xfrm>
              <a:off x="-1297651" y="1760254"/>
              <a:ext cx="719816" cy="697109"/>
            </a:xfrm>
            <a:prstGeom prst="ellipse">
              <a:avLst/>
            </a:prstGeom>
            <a:solidFill>
              <a:srgbClr val="FFEAD3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Ellipsi 31">
              <a:extLst>
                <a:ext uri="{FF2B5EF4-FFF2-40B4-BE49-F238E27FC236}">
                  <a16:creationId xmlns:a16="http://schemas.microsoft.com/office/drawing/2014/main" id="{0A2A179C-255F-D04B-80FF-42967DB7F036}"/>
                </a:ext>
              </a:extLst>
            </p:cNvPr>
            <p:cNvSpPr/>
            <p:nvPr userDrawn="1"/>
          </p:nvSpPr>
          <p:spPr>
            <a:xfrm>
              <a:off x="-1297691" y="2640381"/>
              <a:ext cx="719816" cy="697109"/>
            </a:xfrm>
            <a:prstGeom prst="ellipse">
              <a:avLst/>
            </a:prstGeom>
            <a:solidFill>
              <a:srgbClr val="FFEF7F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Ellipsi 32">
              <a:extLst>
                <a:ext uri="{FF2B5EF4-FFF2-40B4-BE49-F238E27FC236}">
                  <a16:creationId xmlns:a16="http://schemas.microsoft.com/office/drawing/2014/main" id="{AB17063A-4624-F54B-B3EF-CE2D6E04A700}"/>
                </a:ext>
              </a:extLst>
            </p:cNvPr>
            <p:cNvSpPr/>
            <p:nvPr userDrawn="1"/>
          </p:nvSpPr>
          <p:spPr>
            <a:xfrm>
              <a:off x="-1297691" y="3520508"/>
              <a:ext cx="719816" cy="697109"/>
            </a:xfrm>
            <a:prstGeom prst="ellipse">
              <a:avLst/>
            </a:prstGeom>
            <a:solidFill>
              <a:srgbClr val="E0F3D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Ellipsi 32">
              <a:extLst>
                <a:ext uri="{FF2B5EF4-FFF2-40B4-BE49-F238E27FC236}">
                  <a16:creationId xmlns:a16="http://schemas.microsoft.com/office/drawing/2014/main" id="{830807A7-7F2F-9949-880E-4F00B349204B}"/>
                </a:ext>
              </a:extLst>
            </p:cNvPr>
            <p:cNvSpPr/>
            <p:nvPr userDrawn="1"/>
          </p:nvSpPr>
          <p:spPr>
            <a:xfrm>
              <a:off x="-1297691" y="4400635"/>
              <a:ext cx="719816" cy="697109"/>
            </a:xfrm>
            <a:prstGeom prst="ellipse">
              <a:avLst/>
            </a:prstGeom>
            <a:solidFill>
              <a:srgbClr val="BFE0D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Ellipsi 32">
              <a:extLst>
                <a:ext uri="{FF2B5EF4-FFF2-40B4-BE49-F238E27FC236}">
                  <a16:creationId xmlns:a16="http://schemas.microsoft.com/office/drawing/2014/main" id="{F5891E7E-86DE-AA41-9599-DAFDA72B46F3}"/>
                </a:ext>
              </a:extLst>
            </p:cNvPr>
            <p:cNvSpPr/>
            <p:nvPr userDrawn="1"/>
          </p:nvSpPr>
          <p:spPr>
            <a:xfrm>
              <a:off x="-1297691" y="5280762"/>
              <a:ext cx="719816" cy="697109"/>
            </a:xfrm>
            <a:prstGeom prst="ellipse">
              <a:avLst/>
            </a:prstGeom>
            <a:solidFill>
              <a:srgbClr val="D7F2FA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Ellipsi 32">
              <a:extLst>
                <a:ext uri="{FF2B5EF4-FFF2-40B4-BE49-F238E27FC236}">
                  <a16:creationId xmlns:a16="http://schemas.microsoft.com/office/drawing/2014/main" id="{A75BE3D2-9926-C94A-926D-1C717ED44BE3}"/>
                </a:ext>
              </a:extLst>
            </p:cNvPr>
            <p:cNvSpPr/>
            <p:nvPr userDrawn="1"/>
          </p:nvSpPr>
          <p:spPr>
            <a:xfrm>
              <a:off x="-1297663" y="6160891"/>
              <a:ext cx="719816" cy="697109"/>
            </a:xfrm>
            <a:prstGeom prst="ellipse">
              <a:avLst/>
            </a:prstGeom>
            <a:solidFill>
              <a:srgbClr val="C9DBEC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" name="Ellipsi 28">
              <a:extLst>
                <a:ext uri="{FF2B5EF4-FFF2-40B4-BE49-F238E27FC236}">
                  <a16:creationId xmlns:a16="http://schemas.microsoft.com/office/drawing/2014/main" id="{7A383D4D-06B8-9948-AF8E-B78F441800DF}"/>
                </a:ext>
              </a:extLst>
            </p:cNvPr>
            <p:cNvSpPr/>
            <p:nvPr userDrawn="1"/>
          </p:nvSpPr>
          <p:spPr>
            <a:xfrm>
              <a:off x="-1749222" y="-74"/>
              <a:ext cx="719816" cy="697109"/>
            </a:xfrm>
            <a:prstGeom prst="ellipse">
              <a:avLst/>
            </a:prstGeom>
            <a:solidFill>
              <a:srgbClr val="FBD1DC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" name="Ellipsi 29">
              <a:extLst>
                <a:ext uri="{FF2B5EF4-FFF2-40B4-BE49-F238E27FC236}">
                  <a16:creationId xmlns:a16="http://schemas.microsoft.com/office/drawing/2014/main" id="{10B226F3-256B-C149-9FE4-2169AC8BAA77}"/>
                </a:ext>
              </a:extLst>
            </p:cNvPr>
            <p:cNvSpPr/>
            <p:nvPr userDrawn="1"/>
          </p:nvSpPr>
          <p:spPr>
            <a:xfrm>
              <a:off x="-1749222" y="880127"/>
              <a:ext cx="719816" cy="697109"/>
            </a:xfrm>
            <a:prstGeom prst="ellipse">
              <a:avLst/>
            </a:prstGeom>
            <a:solidFill>
              <a:srgbClr val="E8114B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" name="Ellipsi 30">
              <a:extLst>
                <a:ext uri="{FF2B5EF4-FFF2-40B4-BE49-F238E27FC236}">
                  <a16:creationId xmlns:a16="http://schemas.microsoft.com/office/drawing/2014/main" id="{1E241F7E-51AD-624C-9C6B-71BB4FDD86EF}"/>
                </a:ext>
              </a:extLst>
            </p:cNvPr>
            <p:cNvSpPr/>
            <p:nvPr userDrawn="1"/>
          </p:nvSpPr>
          <p:spPr>
            <a:xfrm>
              <a:off x="-1749222" y="1760254"/>
              <a:ext cx="719816" cy="697109"/>
            </a:xfrm>
            <a:prstGeom prst="ellipse">
              <a:avLst/>
            </a:prstGeom>
            <a:solidFill>
              <a:srgbClr val="FF9F3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" name="Ellipsi 31">
              <a:extLst>
                <a:ext uri="{FF2B5EF4-FFF2-40B4-BE49-F238E27FC236}">
                  <a16:creationId xmlns:a16="http://schemas.microsoft.com/office/drawing/2014/main" id="{5DA7310D-F100-154F-9FD8-680FC89BCEBE}"/>
                </a:ext>
              </a:extLst>
            </p:cNvPr>
            <p:cNvSpPr/>
            <p:nvPr userDrawn="1"/>
          </p:nvSpPr>
          <p:spPr>
            <a:xfrm>
              <a:off x="-1749236" y="2640381"/>
              <a:ext cx="719816" cy="697109"/>
            </a:xfrm>
            <a:prstGeom prst="ellipse">
              <a:avLst/>
            </a:prstGeom>
            <a:solidFill>
              <a:srgbClr val="FFE00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" name="Ellipsi 32">
              <a:extLst>
                <a:ext uri="{FF2B5EF4-FFF2-40B4-BE49-F238E27FC236}">
                  <a16:creationId xmlns:a16="http://schemas.microsoft.com/office/drawing/2014/main" id="{7C47C4D0-D638-4744-8600-7DCFD3641E4D}"/>
                </a:ext>
              </a:extLst>
            </p:cNvPr>
            <p:cNvSpPr/>
            <p:nvPr userDrawn="1"/>
          </p:nvSpPr>
          <p:spPr>
            <a:xfrm>
              <a:off x="-1749236" y="3520508"/>
              <a:ext cx="719816" cy="697109"/>
            </a:xfrm>
            <a:prstGeom prst="ellipse">
              <a:avLst/>
            </a:prstGeom>
            <a:solidFill>
              <a:srgbClr val="73C92D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" name="Ellipsi 32">
              <a:extLst>
                <a:ext uri="{FF2B5EF4-FFF2-40B4-BE49-F238E27FC236}">
                  <a16:creationId xmlns:a16="http://schemas.microsoft.com/office/drawing/2014/main" id="{36513781-BCA3-1F42-BD7B-76EC009BCD7B}"/>
                </a:ext>
              </a:extLst>
            </p:cNvPr>
            <p:cNvSpPr/>
            <p:nvPr userDrawn="1"/>
          </p:nvSpPr>
          <p:spPr>
            <a:xfrm>
              <a:off x="-1749236" y="4400635"/>
              <a:ext cx="719816" cy="697109"/>
            </a:xfrm>
            <a:prstGeom prst="ellipse">
              <a:avLst/>
            </a:prstGeom>
            <a:solidFill>
              <a:srgbClr val="00854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" name="Ellipsi 32">
              <a:extLst>
                <a:ext uri="{FF2B5EF4-FFF2-40B4-BE49-F238E27FC236}">
                  <a16:creationId xmlns:a16="http://schemas.microsoft.com/office/drawing/2014/main" id="{E5A022FD-A22F-C84B-90E8-C84F58039CCA}"/>
                </a:ext>
              </a:extLst>
            </p:cNvPr>
            <p:cNvSpPr/>
            <p:nvPr userDrawn="1"/>
          </p:nvSpPr>
          <p:spPr>
            <a:xfrm>
              <a:off x="-1749236" y="5280762"/>
              <a:ext cx="719816" cy="697109"/>
            </a:xfrm>
            <a:prstGeom prst="ellipse">
              <a:avLst/>
            </a:prstGeom>
            <a:solidFill>
              <a:srgbClr val="75CFEB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" name="Ellipsi 32">
              <a:extLst>
                <a:ext uri="{FF2B5EF4-FFF2-40B4-BE49-F238E27FC236}">
                  <a16:creationId xmlns:a16="http://schemas.microsoft.com/office/drawing/2014/main" id="{EDB9634E-0B79-CD48-B1D8-F8816D614AEB}"/>
                </a:ext>
              </a:extLst>
            </p:cNvPr>
            <p:cNvSpPr/>
            <p:nvPr userDrawn="1"/>
          </p:nvSpPr>
          <p:spPr>
            <a:xfrm>
              <a:off x="-1749226" y="6160891"/>
              <a:ext cx="719816" cy="697109"/>
            </a:xfrm>
            <a:prstGeom prst="ellipse">
              <a:avLst/>
            </a:prstGeom>
            <a:solidFill>
              <a:srgbClr val="367ABA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8BBE36-0E53-8C44-A477-4D352CEC3254}"/>
                </a:ext>
              </a:extLst>
            </p:cNvPr>
            <p:cNvSpPr txBox="1"/>
            <p:nvPr userDrawn="1"/>
          </p:nvSpPr>
          <p:spPr>
            <a:xfrm rot="16200000">
              <a:off x="-1977822" y="7117573"/>
              <a:ext cx="1221261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FI" sz="1600" b="0" i="0">
                  <a:latin typeface="+mn-lt"/>
                </a:rPr>
                <a:t>Sitran väripaletti. Nappaa väri pipetillä.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F3FA64-3732-8A45-A7C2-8EAB4290F358}"/>
                </a:ext>
              </a:extLst>
            </p:cNvPr>
            <p:cNvSpPr txBox="1"/>
            <p:nvPr userDrawn="1"/>
          </p:nvSpPr>
          <p:spPr>
            <a:xfrm rot="16200000">
              <a:off x="-2443800" y="6429331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Mustikka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6B07822-BAE3-F044-A860-7D548ECDB061}"/>
                </a:ext>
              </a:extLst>
            </p:cNvPr>
            <p:cNvSpPr txBox="1"/>
            <p:nvPr userDrawn="1"/>
          </p:nvSpPr>
          <p:spPr>
            <a:xfrm rot="16200000">
              <a:off x="-2443800" y="55606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Tellus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5EE0087-1CE7-B046-8FC6-E5FD942E3708}"/>
                </a:ext>
              </a:extLst>
            </p:cNvPr>
            <p:cNvSpPr txBox="1"/>
            <p:nvPr userDrawn="1"/>
          </p:nvSpPr>
          <p:spPr>
            <a:xfrm rot="16200000">
              <a:off x="-2443800" y="4675341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Havu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2D49530-5F92-0349-99E1-9F2629D5FF59}"/>
                </a:ext>
              </a:extLst>
            </p:cNvPr>
            <p:cNvSpPr txBox="1"/>
            <p:nvPr userDrawn="1"/>
          </p:nvSpPr>
          <p:spPr>
            <a:xfrm rot="16200000">
              <a:off x="-2443800" y="37858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Kerkkä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CD66CD-35DA-DE42-AFAA-77D342190B97}"/>
                </a:ext>
              </a:extLst>
            </p:cNvPr>
            <p:cNvSpPr txBox="1"/>
            <p:nvPr userDrawn="1"/>
          </p:nvSpPr>
          <p:spPr>
            <a:xfrm rot="16200000">
              <a:off x="-2443800" y="2921749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Voikukka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1C51FE8-ED43-FB40-8C6B-1E94B8B33A2D}"/>
                </a:ext>
              </a:extLst>
            </p:cNvPr>
            <p:cNvSpPr txBox="1"/>
            <p:nvPr userDrawn="1"/>
          </p:nvSpPr>
          <p:spPr>
            <a:xfrm rot="16200000">
              <a:off x="-2443800" y="2036445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Tyrni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40C15AF-77BF-494B-8532-A52982A39E8F}"/>
                </a:ext>
              </a:extLst>
            </p:cNvPr>
            <p:cNvSpPr txBox="1"/>
            <p:nvPr userDrawn="1"/>
          </p:nvSpPr>
          <p:spPr>
            <a:xfrm rot="16200000">
              <a:off x="-2443800" y="1155457"/>
              <a:ext cx="81280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Puolukka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44A8471-398C-EE46-9C24-25F675BA8E5F}"/>
                </a:ext>
              </a:extLst>
            </p:cNvPr>
            <p:cNvSpPr txBox="1"/>
            <p:nvPr userDrawn="1"/>
          </p:nvSpPr>
          <p:spPr>
            <a:xfrm rot="16200000">
              <a:off x="-2359159" y="181323"/>
              <a:ext cx="81280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i-FI" sz="1100" b="0" i="0">
                  <a:latin typeface="+mn-lt"/>
                </a:rPr>
                <a:t>Mansikka</a:t>
              </a:r>
            </a:p>
            <a:p>
              <a:pPr algn="ctr"/>
              <a:r>
                <a:rPr lang="fi-FI" sz="1100" b="0" i="0" err="1">
                  <a:latin typeface="+mn-lt"/>
                </a:rPr>
                <a:t>smoothie</a:t>
              </a:r>
              <a:endParaRPr lang="en-FI" sz="1100" b="0" i="0">
                <a:latin typeface="+mn-l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A1888C-BCE9-0640-B4D3-3EBF7BF68556}"/>
                </a:ext>
              </a:extLst>
            </p:cNvPr>
            <p:cNvSpPr txBox="1"/>
            <p:nvPr userDrawn="1"/>
          </p:nvSpPr>
          <p:spPr>
            <a:xfrm rot="16200000">
              <a:off x="-1726635" y="6150296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1100" b="0" i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7A5C2D2-07FE-DA47-9E5C-4C9529C615C0}"/>
                </a:ext>
              </a:extLst>
            </p:cNvPr>
            <p:cNvSpPr txBox="1"/>
            <p:nvPr userDrawn="1"/>
          </p:nvSpPr>
          <p:spPr>
            <a:xfrm rot="16200000">
              <a:off x="-1726635" y="5306214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58DC66A-05B9-8547-BD04-E3557F77FAB8}"/>
                </a:ext>
              </a:extLst>
            </p:cNvPr>
            <p:cNvSpPr txBox="1"/>
            <p:nvPr userDrawn="1"/>
          </p:nvSpPr>
          <p:spPr>
            <a:xfrm rot="16200000">
              <a:off x="-1726635" y="4402929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1100" b="0" i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7235BB5-E89A-A241-8A3D-BF8C98F2C2D8}"/>
                </a:ext>
              </a:extLst>
            </p:cNvPr>
            <p:cNvSpPr txBox="1"/>
            <p:nvPr userDrawn="1"/>
          </p:nvSpPr>
          <p:spPr>
            <a:xfrm rot="16200000">
              <a:off x="-1726635" y="3506014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1F7AE7A-C9D8-2A49-B80B-2E9C2CEC2DD5}"/>
                </a:ext>
              </a:extLst>
            </p:cNvPr>
            <p:cNvSpPr txBox="1"/>
            <p:nvPr userDrawn="1"/>
          </p:nvSpPr>
          <p:spPr>
            <a:xfrm rot="16200000">
              <a:off x="-1726635" y="264191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732FCE3-6B39-254A-9F27-01493F244E81}"/>
                </a:ext>
              </a:extLst>
            </p:cNvPr>
            <p:cNvSpPr txBox="1"/>
            <p:nvPr userDrawn="1"/>
          </p:nvSpPr>
          <p:spPr>
            <a:xfrm rot="16200000">
              <a:off x="-1726635" y="1777822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4B9DA97-F029-2A4F-A8A8-BE7A84A17DFB}"/>
                </a:ext>
              </a:extLst>
            </p:cNvPr>
            <p:cNvSpPr txBox="1"/>
            <p:nvPr userDrawn="1"/>
          </p:nvSpPr>
          <p:spPr>
            <a:xfrm rot="16200000">
              <a:off x="-1726635" y="84171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bg1"/>
                  </a:solidFill>
                  <a:latin typeface="+mj-lt"/>
                </a:rPr>
                <a:t>TP</a:t>
              </a:r>
              <a:endParaRPr lang="en-FI" sz="1100" b="0" i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01446F1-F283-9B42-80CC-74D4AB06A0A2}"/>
                </a:ext>
              </a:extLst>
            </p:cNvPr>
            <p:cNvSpPr txBox="1"/>
            <p:nvPr userDrawn="1"/>
          </p:nvSpPr>
          <p:spPr>
            <a:xfrm rot="16200000">
              <a:off x="-1726635" y="-22378"/>
              <a:ext cx="692331" cy="70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algn="ctr"/>
              <a:r>
                <a:rPr lang="fi-FI" sz="1100" b="0" i="0">
                  <a:solidFill>
                    <a:schemeClr val="tx1"/>
                  </a:solidFill>
                  <a:latin typeface="+mj-lt"/>
                </a:rPr>
                <a:t>VP</a:t>
              </a:r>
              <a:endParaRPr lang="en-FI" sz="1100" b="0" i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94033F7A-8E83-E04D-AB41-5D7A99CFE14D}"/>
              </a:ext>
            </a:extLst>
          </p:cNvPr>
          <p:cNvSpPr/>
          <p:nvPr userDrawn="1"/>
        </p:nvSpPr>
        <p:spPr>
          <a:xfrm rot="5400000">
            <a:off x="263086" y="-2792632"/>
            <a:ext cx="1970380" cy="2494548"/>
          </a:xfrm>
          <a:prstGeom prst="rect">
            <a:avLst/>
          </a:prstGeom>
          <a:solidFill>
            <a:srgbClr val="E8114B"/>
          </a:solidFill>
          <a:ln w="12700">
            <a:noFill/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0ABD6-61E1-9545-A711-E47F43669A49}"/>
              </a:ext>
            </a:extLst>
          </p:cNvPr>
          <p:cNvSpPr txBox="1"/>
          <p:nvPr userDrawn="1"/>
        </p:nvSpPr>
        <p:spPr>
          <a:xfrm>
            <a:off x="348808" y="-2157912"/>
            <a:ext cx="178283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FI" sz="1600" b="0" i="0">
                <a:solidFill>
                  <a:schemeClr val="bg1"/>
                </a:solidFill>
                <a:latin typeface="+mn-lt"/>
              </a:rPr>
              <a:t>Muista säilyttää </a:t>
            </a:r>
            <a:r>
              <a:rPr lang="en-FI" sz="1600" b="0" i="0">
                <a:solidFill>
                  <a:schemeClr val="bg1"/>
                </a:solidFill>
                <a:latin typeface="+mj-lt"/>
              </a:rPr>
              <a:t>kohteen</a:t>
            </a:r>
            <a:r>
              <a:rPr lang="en-FI" sz="1600" b="0" i="0">
                <a:solidFill>
                  <a:schemeClr val="bg1"/>
                </a:solidFill>
                <a:latin typeface="+mn-lt"/>
              </a:rPr>
              <a:t> </a:t>
            </a:r>
            <a:r>
              <a:rPr lang="en-FI" sz="1600" b="0" i="0">
                <a:solidFill>
                  <a:schemeClr val="bg1"/>
                </a:solidFill>
                <a:latin typeface="+mj-lt"/>
              </a:rPr>
              <a:t>teema </a:t>
            </a:r>
            <a:r>
              <a:rPr lang="en-FI" sz="1600" b="0" i="0">
                <a:solidFill>
                  <a:schemeClr val="bg1"/>
                </a:solidFill>
                <a:latin typeface="+mn-lt"/>
              </a:rPr>
              <a:t>jos tuot vanhoja kalvoja osaksi esitystäsi!</a:t>
            </a:r>
          </a:p>
        </p:txBody>
      </p:sp>
      <p:sp>
        <p:nvSpPr>
          <p:cNvPr id="39" name="Dian numeron paikkamerkki 38">
            <a:extLst>
              <a:ext uri="{FF2B5EF4-FFF2-40B4-BE49-F238E27FC236}">
                <a16:creationId xmlns:a16="http://schemas.microsoft.com/office/drawing/2014/main" id="{DD76F944-88E7-44E6-A00A-B708CD1CB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3E078C10-ABC5-4EF7-9B5E-599CE2B16BF5}" type="slidenum">
              <a:rPr lang="LID4096" smtClean="0"/>
              <a:pPr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983053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239178" indent="-239178" algn="l" defTabSz="609585" rtl="0" eaLnBrk="1" latinLnBrk="0" hangingPunct="1">
        <a:spcBef>
          <a:spcPct val="20000"/>
        </a:spcBef>
        <a:buFont typeface="Lucida Grande"/>
        <a:buChar char="-"/>
        <a:defRPr sz="2133" b="0" i="0" kern="1200">
          <a:solidFill>
            <a:schemeClr val="tx1"/>
          </a:solidFill>
          <a:latin typeface="+mn-lt"/>
          <a:ea typeface="+mn-ea"/>
          <a:cs typeface="Georgia"/>
        </a:defRPr>
      </a:lvl1pPr>
      <a:lvl2pPr marL="476239" indent="-237061" algn="l" defTabSz="609585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867" b="0" i="0" kern="1200">
          <a:solidFill>
            <a:schemeClr val="tx1"/>
          </a:solidFill>
          <a:latin typeface="+mn-lt"/>
          <a:ea typeface="+mn-ea"/>
          <a:cs typeface="Georgia"/>
        </a:defRPr>
      </a:lvl2pPr>
      <a:lvl3pPr marL="715415" indent="-228594" algn="l" defTabSz="609585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3pPr>
      <a:lvl4pPr marL="960943" indent="-228594" algn="l" defTabSz="609585" rtl="0" eaLnBrk="1" latinLnBrk="0" hangingPunct="1">
        <a:spcBef>
          <a:spcPct val="20000"/>
        </a:spcBef>
        <a:buFont typeface="Georgia" panose="02040502050405020303" pitchFamily="18" charset="0"/>
        <a:buChar char="–"/>
        <a:defRPr sz="1600" b="0" i="0" kern="1200">
          <a:solidFill>
            <a:schemeClr val="tx1"/>
          </a:solidFill>
          <a:latin typeface="+mn-lt"/>
          <a:ea typeface="+mn-ea"/>
          <a:cs typeface="Georgia"/>
        </a:defRPr>
      </a:lvl4pPr>
      <a:lvl5pPr marL="2438339" indent="0" algn="ctr" defTabSz="609585" rtl="0" eaLnBrk="1" latinLnBrk="0" hangingPunct="1">
        <a:spcBef>
          <a:spcPct val="20000"/>
        </a:spcBef>
        <a:buFont typeface="Arial"/>
        <a:buNone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386">
          <p15:clr>
            <a:srgbClr val="F26B43"/>
          </p15:clr>
        </p15:guide>
        <p15:guide id="4" pos="2933">
          <p15:clr>
            <a:srgbClr val="F26B43"/>
          </p15:clr>
        </p15:guide>
        <p15:guide id="5" pos="2479">
          <p15:clr>
            <a:srgbClr val="F26B43"/>
          </p15:clr>
        </p15:guide>
        <p15:guide id="6" pos="2026">
          <p15:clr>
            <a:srgbClr val="F26B43"/>
          </p15:clr>
        </p15:guide>
        <p15:guide id="7" pos="1572">
          <p15:clr>
            <a:srgbClr val="F26B43"/>
          </p15:clr>
        </p15:guide>
        <p15:guide id="8" pos="1118">
          <p15:clr>
            <a:srgbClr val="F26B43"/>
          </p15:clr>
        </p15:guide>
        <p15:guide id="9" pos="665">
          <p15:clr>
            <a:srgbClr val="F26B43"/>
          </p15:clr>
        </p15:guide>
        <p15:guide id="10" pos="211">
          <p15:clr>
            <a:srgbClr val="F26B43"/>
          </p15:clr>
        </p15:guide>
        <p15:guide id="11" pos="4294">
          <p15:clr>
            <a:srgbClr val="F26B43"/>
          </p15:clr>
        </p15:guide>
        <p15:guide id="12" pos="4747">
          <p15:clr>
            <a:srgbClr val="F26B43"/>
          </p15:clr>
        </p15:guide>
        <p15:guide id="13" pos="5201">
          <p15:clr>
            <a:srgbClr val="F26B43"/>
          </p15:clr>
        </p15:guide>
        <p15:guide id="14" pos="5654">
          <p15:clr>
            <a:srgbClr val="F26B43"/>
          </p15:clr>
        </p15:guide>
        <p15:guide id="15" pos="6108">
          <p15:clr>
            <a:srgbClr val="F26B43"/>
          </p15:clr>
        </p15:guide>
        <p15:guide id="16" pos="6562">
          <p15:clr>
            <a:srgbClr val="F26B43"/>
          </p15:clr>
        </p15:guide>
        <p15:guide id="17" pos="7015">
          <p15:clr>
            <a:srgbClr val="F26B43"/>
          </p15:clr>
        </p15:guide>
        <p15:guide id="18" pos="7469">
          <p15:clr>
            <a:srgbClr val="F26B43"/>
          </p15:clr>
        </p15:guide>
        <p15:guide id="19" orient="horz" pos="1706">
          <p15:clr>
            <a:srgbClr val="F26B43"/>
          </p15:clr>
        </p15:guide>
        <p15:guide id="20" orient="horz" pos="1253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346">
          <p15:clr>
            <a:srgbClr val="F26B43"/>
          </p15:clr>
        </p15:guide>
        <p15:guide id="23" orient="horz" pos="2614">
          <p15:clr>
            <a:srgbClr val="F26B43"/>
          </p15:clr>
        </p15:guide>
        <p15:guide id="24" orient="horz" pos="3067">
          <p15:clr>
            <a:srgbClr val="F26B43"/>
          </p15:clr>
        </p15:guide>
        <p15:guide id="25" orient="horz" pos="3521">
          <p15:clr>
            <a:srgbClr val="F26B43"/>
          </p15:clr>
        </p15:guide>
        <p15:guide id="26" orient="horz" pos="3974">
          <p15:clr>
            <a:srgbClr val="F26B43"/>
          </p15:clr>
        </p15:guide>
        <p15:guide id="27" orient="horz" pos="119">
          <p15:clr>
            <a:srgbClr val="F26B43"/>
          </p15:clr>
        </p15:guide>
        <p15:guide id="28" orient="horz" pos="232">
          <p15:clr>
            <a:srgbClr val="F26B43"/>
          </p15:clr>
        </p15:guide>
        <p15:guide id="30" orient="horz">
          <p15:clr>
            <a:srgbClr val="F26B43"/>
          </p15:clr>
        </p15:guide>
        <p15:guide id="31" orient="horz" pos="4088">
          <p15:clr>
            <a:srgbClr val="F26B43"/>
          </p15:clr>
        </p15:guide>
        <p15:guide id="33" orient="horz" pos="4201">
          <p15:clr>
            <a:srgbClr val="F26B43"/>
          </p15:clr>
        </p15:guide>
        <p15:guide id="34" orient="horz" pos="4320">
          <p15:clr>
            <a:srgbClr val="F26B43"/>
          </p15:clr>
        </p15:guide>
        <p15:guide id="35" pos="7582">
          <p15:clr>
            <a:srgbClr val="F26B43"/>
          </p15:clr>
        </p15:guide>
        <p15:guide id="37" pos="98">
          <p15:clr>
            <a:srgbClr val="F26B43"/>
          </p15:clr>
        </p15:guide>
        <p15:guide id="39">
          <p15:clr>
            <a:srgbClr val="F26B43"/>
          </p15:clr>
        </p15:guide>
        <p15:guide id="40" pos="76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4.svg"/><Relationship Id="rId11" Type="http://schemas.openxmlformats.org/officeDocument/2006/relationships/image" Target="../media/image2.emf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342974-28D5-82F2-7FB9-4C1A154C20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476D00-B489-35BA-7B71-D410A5FAD11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41834" y="1742200"/>
            <a:ext cx="5442648" cy="280076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/>
            </a:pPr>
            <a:r>
              <a:rPr kumimoji="0" lang="fi-FI" sz="4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Georgia"/>
              </a:rPr>
              <a:t>Miten TKI-painopisteet valitaan muissa maissa?</a:t>
            </a:r>
          </a:p>
        </p:txBody>
      </p:sp>
    </p:spTree>
    <p:extLst>
      <p:ext uri="{BB962C8B-B14F-4D97-AF65-F5344CB8AC3E}">
        <p14:creationId xmlns:p14="http://schemas.microsoft.com/office/powerpoint/2010/main" val="2789527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A9276A3-C47C-0799-AA15-955484A77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itä oppeja analyysi </a:t>
            </a:r>
            <a:br>
              <a:rPr lang="fi-FI"/>
            </a:br>
            <a:r>
              <a:rPr lang="fi-FI"/>
              <a:t>tarjoaa Suomelle?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31B88E1-D0CC-276B-C79E-F9B4FFAC99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AA29B97-32F9-80FA-F53B-EDE2C0E06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10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432741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93448775-90C0-FB9F-2B61-C84BBE8E6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7141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48775-90C0-FB9F-2B61-C84BBE8E6FA2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2C6FAB8-664B-ECEE-BE61-D95B21508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380" y="246980"/>
            <a:ext cx="10080625" cy="1130356"/>
          </a:xfrm>
        </p:spPr>
        <p:txBody>
          <a:bodyPr vert="horz"/>
          <a:lstStyle/>
          <a:p>
            <a:r>
              <a:rPr lang="fi-FI" sz="3600" dirty="0"/>
              <a:t>Johtopäätöksiä</a:t>
            </a:r>
            <a:endParaRPr lang="en-FI" sz="3600" dirty="0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E79C64FD-BC48-79C2-0203-9BD54E7B09D1}"/>
              </a:ext>
            </a:extLst>
          </p:cNvPr>
          <p:cNvSpPr txBox="1">
            <a:spLocks/>
          </p:cNvSpPr>
          <p:nvPr/>
        </p:nvSpPr>
        <p:spPr>
          <a:xfrm>
            <a:off x="1302863" y="1165058"/>
            <a:ext cx="2651138" cy="299741"/>
          </a:xfrm>
          <a:prstGeom prst="roundRect">
            <a:avLst/>
          </a:prstGeom>
        </p:spPr>
        <p:txBody>
          <a:bodyPr lIns="72000" tIns="0" rIns="0" bIns="0" anchor="ctr"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27305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1809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1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00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6pPr>
            <a:lvl7pPr marL="1793875" indent="-265113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2063750" indent="-274638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2335213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fi-FI" sz="2000" b="1">
                <a:latin typeface="+mj-lt"/>
              </a:rPr>
              <a:t>Pitkäjänteisyys</a:t>
            </a:r>
            <a:endParaRPr kumimoji="0" lang="fi-FI" sz="2000" b="1" i="0" u="none" strike="noStrike" kern="1200" cap="none" spc="10" normalizeH="0" baseline="0" noProof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A79A9E-EBB6-9E1C-AFCB-5E7C869FB2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4209769"/>
            <a:ext cx="12191998" cy="21872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461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7164D51-656F-5964-3BF2-850070072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23711" y="2018676"/>
            <a:ext cx="0" cy="1736145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44BB914-A6C3-E168-0A4E-E07C9E9E5F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485316" y="2013811"/>
            <a:ext cx="0" cy="1736145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 descr="Johtopäätöksiä pitkäjänteisyydestä">
            <a:extLst>
              <a:ext uri="{FF2B5EF4-FFF2-40B4-BE49-F238E27FC236}">
                <a16:creationId xmlns:a16="http://schemas.microsoft.com/office/drawing/2014/main" id="{573B1420-D695-DC15-6D06-6BF3DBD326DF}"/>
              </a:ext>
            </a:extLst>
          </p:cNvPr>
          <p:cNvGrpSpPr/>
          <p:nvPr/>
        </p:nvGrpSpPr>
        <p:grpSpPr>
          <a:xfrm>
            <a:off x="833477" y="1694817"/>
            <a:ext cx="3207802" cy="4491129"/>
            <a:chOff x="837414" y="2825535"/>
            <a:chExt cx="2823054" cy="400035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584C853-DDEA-977F-4E3E-5C31BED25EBB}"/>
                </a:ext>
              </a:extLst>
            </p:cNvPr>
            <p:cNvSpPr>
              <a:spLocks/>
            </p:cNvSpPr>
            <p:nvPr/>
          </p:nvSpPr>
          <p:spPr>
            <a:xfrm>
              <a:off x="837414" y="2825535"/>
              <a:ext cx="2823054" cy="1259948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 defTabSz="742950">
                <a:defRPr/>
              </a:pPr>
              <a:r>
                <a:rPr lang="fi-FI" sz="1600">
                  <a:ea typeface="Verdana" panose="020B0604030504040204" pitchFamily="34" charset="0"/>
                </a:rPr>
                <a:t>Selkeät ja pitkälle aikavälille kohdennetut tavoitteet vakauttavat järjestelmää, tukevat TKI-toiminnan ja osaamisen uudistumista.</a:t>
              </a:r>
            </a:p>
            <a:p>
              <a:pPr algn="ctr" defTabSz="742950">
                <a:defRPr/>
              </a:pPr>
              <a:endParaRPr lang="fi-FI" sz="1600">
                <a:ea typeface="Verdana" panose="020B0604030504040204" pitchFamily="34" charset="0"/>
              </a:endParaRPr>
            </a:p>
            <a:p>
              <a:pPr algn="ctr" defTabSz="742950">
                <a:defRPr/>
              </a:pPr>
              <a:r>
                <a:rPr lang="fi-FI" sz="1600">
                  <a:ea typeface="Verdana" panose="020B0604030504040204" pitchFamily="34" charset="0"/>
                </a:rPr>
                <a:t>Painopistevalintojen kohdentaminen laaja-alaisiin teemoihin ja toimintatapoihin luo kannustimia.</a:t>
              </a:r>
            </a:p>
            <a:p>
              <a:pPr algn="ctr" defTabSz="742950">
                <a:defRPr/>
              </a:pPr>
              <a:endParaRPr lang="fi-FI" sz="1600">
                <a:ea typeface="Verdana" panose="020B060403050404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80BDAED-7AB8-8CE9-FC29-46157AD6E05A}"/>
                </a:ext>
              </a:extLst>
            </p:cNvPr>
            <p:cNvSpPr txBox="1">
              <a:spLocks/>
            </p:cNvSpPr>
            <p:nvPr/>
          </p:nvSpPr>
          <p:spPr>
            <a:xfrm>
              <a:off x="837414" y="5208440"/>
              <a:ext cx="2663331" cy="16174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742950">
                <a:defRPr/>
              </a:pPr>
              <a:r>
                <a:rPr lang="fi-FI" sz="1600" b="1">
                  <a:ea typeface="Verdana" panose="020B0604030504040204" pitchFamily="34" charset="0"/>
                </a:rPr>
                <a:t>Parlamentaarinen yhteistyö, hallituskaudet ylittävä prosessi ja pitkän aikavälin tavoitteet ovat painopistevalintojen tuloksellisuuden kannalta keskeisiä tekijöitä.  </a:t>
              </a:r>
            </a:p>
          </p:txBody>
        </p:sp>
      </p:grp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C7748787-5113-6FD2-762E-0D61DC3A1071}"/>
              </a:ext>
            </a:extLst>
          </p:cNvPr>
          <p:cNvSpPr txBox="1">
            <a:spLocks/>
          </p:cNvSpPr>
          <p:nvPr/>
        </p:nvSpPr>
        <p:spPr>
          <a:xfrm>
            <a:off x="5292556" y="1137755"/>
            <a:ext cx="2651138" cy="299741"/>
          </a:xfrm>
          <a:prstGeom prst="roundRect">
            <a:avLst/>
          </a:prstGeom>
        </p:spPr>
        <p:txBody>
          <a:bodyPr lIns="72000" tIns="0" rIns="0" bIns="0" anchor="ctr"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27305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1809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1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00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6pPr>
            <a:lvl7pPr marL="1793875" indent="-265113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2063750" indent="-274638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2335213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fi-FI" sz="2000" b="1">
                <a:latin typeface="+mj-lt"/>
              </a:rPr>
              <a:t>Vuorovaikutus</a:t>
            </a:r>
            <a:endParaRPr kumimoji="0" lang="fi-FI" sz="2000" b="1" i="0" u="none" strike="noStrike" kern="1200" cap="none" spc="10" normalizeH="0" baseline="0" noProof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13" name="Group 12" descr="Johtopäätöksiä vuorovaikutuksesta">
            <a:extLst>
              <a:ext uri="{FF2B5EF4-FFF2-40B4-BE49-F238E27FC236}">
                <a16:creationId xmlns:a16="http://schemas.microsoft.com/office/drawing/2014/main" id="{262DAA8C-272B-CB44-A7E8-07E17C4E6101}"/>
              </a:ext>
            </a:extLst>
          </p:cNvPr>
          <p:cNvGrpSpPr/>
          <p:nvPr/>
        </p:nvGrpSpPr>
        <p:grpSpPr>
          <a:xfrm>
            <a:off x="4743559" y="1808241"/>
            <a:ext cx="3423697" cy="4505037"/>
            <a:chOff x="4746291" y="2884410"/>
            <a:chExt cx="3013054" cy="401274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ADF5175-3556-76AA-1A8A-8B81B0036FC7}"/>
                </a:ext>
              </a:extLst>
            </p:cNvPr>
            <p:cNvSpPr>
              <a:spLocks/>
            </p:cNvSpPr>
            <p:nvPr/>
          </p:nvSpPr>
          <p:spPr>
            <a:xfrm>
              <a:off x="4936291" y="2884410"/>
              <a:ext cx="2823054" cy="1497559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 defTabSz="742950">
                <a:buClr>
                  <a:srgbClr val="005ADE"/>
                </a:buClr>
                <a:defRPr/>
              </a:pPr>
              <a:r>
                <a:rPr lang="fi-FI" sz="1600">
                  <a:ea typeface="Verdana" panose="020B0604030504040204" pitchFamily="34" charset="0"/>
                </a:rPr>
                <a:t>Systemaattinen vuorovaikutus vahvistaa toimijoiden sitoutumista, ja luo laajan ja tulevaisuutta ennakoivan tietopohjan.</a:t>
              </a:r>
            </a:p>
            <a:p>
              <a:pPr algn="ctr" defTabSz="742950">
                <a:buClr>
                  <a:srgbClr val="005ADE"/>
                </a:buClr>
                <a:defRPr/>
              </a:pPr>
              <a:endParaRPr lang="fi-FI" sz="1600">
                <a:ea typeface="Verdana" panose="020B0604030504040204" pitchFamily="34" charset="0"/>
              </a:endParaRPr>
            </a:p>
            <a:p>
              <a:pPr algn="ctr" defTabSz="742950">
                <a:buClr>
                  <a:srgbClr val="005ADE"/>
                </a:buClr>
                <a:defRPr/>
              </a:pPr>
              <a:r>
                <a:rPr lang="fi-FI" sz="1600">
                  <a:ea typeface="Verdana" panose="020B0604030504040204" pitchFamily="34" charset="0"/>
                </a:rPr>
                <a:t>Avoin ja aktiivinen vuorovaikutus vahvistaa keskeisten TKI-toimijoiden luottamusta järjestelmään.</a:t>
              </a:r>
            </a:p>
            <a:p>
              <a:pPr algn="ctr" defTabSz="742950">
                <a:buClr>
                  <a:srgbClr val="005ADE"/>
                </a:buClr>
                <a:defRPr/>
              </a:pPr>
              <a:endParaRPr lang="fi-FI" sz="1600">
                <a:ea typeface="Verdana" panose="020B060403050404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03F80CC-9F75-2B6A-2696-6BAF6EFD0300}"/>
                </a:ext>
              </a:extLst>
            </p:cNvPr>
            <p:cNvSpPr txBox="1">
              <a:spLocks/>
            </p:cNvSpPr>
            <p:nvPr/>
          </p:nvSpPr>
          <p:spPr>
            <a:xfrm>
              <a:off x="4746291" y="5060389"/>
              <a:ext cx="2816306" cy="18367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742950">
                <a:defRPr/>
              </a:pPr>
              <a:r>
                <a:rPr lang="fi-FI" sz="1600" b="1">
                  <a:ea typeface="Verdana" panose="020B0604030504040204" pitchFamily="34" charset="0"/>
                </a:rPr>
                <a:t>Vaikuttava vuorovaikutus edellyttää niin hallinnonalojen välistä vahvaa yhteistyötä kuin jatkuvaa vuoropuhelua julkishallinnon, tutkimusyhteisöjen ja elinkeinoelämän välillä.</a:t>
              </a:r>
            </a:p>
          </p:txBody>
        </p:sp>
      </p:grp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CA000CFA-EF16-52B2-8092-CDFF21039FB4}"/>
              </a:ext>
            </a:extLst>
          </p:cNvPr>
          <p:cNvSpPr txBox="1">
            <a:spLocks/>
          </p:cNvSpPr>
          <p:nvPr/>
        </p:nvSpPr>
        <p:spPr>
          <a:xfrm>
            <a:off x="9504764" y="1113231"/>
            <a:ext cx="2651138" cy="299741"/>
          </a:xfrm>
          <a:prstGeom prst="roundRect">
            <a:avLst/>
          </a:prstGeom>
        </p:spPr>
        <p:txBody>
          <a:bodyPr lIns="72000" tIns="0" rIns="0" bIns="0" anchor="ctr"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27305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1809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1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00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6pPr>
            <a:lvl7pPr marL="1793875" indent="-265113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2063750" indent="-274638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2335213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fi-FI" sz="2000" b="1">
                <a:latin typeface="+mj-lt"/>
              </a:rPr>
              <a:t>Seuranta</a:t>
            </a:r>
            <a:endParaRPr kumimoji="0" lang="fi-FI" sz="2000" b="1" i="0" u="none" strike="noStrike" kern="1200" cap="none" spc="10" normalizeH="0" baseline="0" noProof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17" name="Group 16" descr="Johtopäätöksiä seurannasta">
            <a:extLst>
              <a:ext uri="{FF2B5EF4-FFF2-40B4-BE49-F238E27FC236}">
                <a16:creationId xmlns:a16="http://schemas.microsoft.com/office/drawing/2014/main" id="{3B146C73-2E76-AD04-D6AF-46DFC2F78B54}"/>
              </a:ext>
            </a:extLst>
          </p:cNvPr>
          <p:cNvGrpSpPr/>
          <p:nvPr/>
        </p:nvGrpSpPr>
        <p:grpSpPr>
          <a:xfrm>
            <a:off x="8733344" y="1658479"/>
            <a:ext cx="3117751" cy="4534581"/>
            <a:chOff x="8742549" y="2722776"/>
            <a:chExt cx="2743803" cy="40390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112222-2FC5-A7A5-096B-5547C83BAE2B}"/>
                </a:ext>
              </a:extLst>
            </p:cNvPr>
            <p:cNvSpPr>
              <a:spLocks/>
            </p:cNvSpPr>
            <p:nvPr/>
          </p:nvSpPr>
          <p:spPr>
            <a:xfrm>
              <a:off x="8742549" y="2722776"/>
              <a:ext cx="2743803" cy="1410032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 defTabSz="742950">
                <a:buClr>
                  <a:srgbClr val="005ADE"/>
                </a:buClr>
                <a:defRPr/>
              </a:pPr>
              <a:r>
                <a:rPr lang="fi-FI" sz="1600">
                  <a:ea typeface="Verdana" panose="020B0604030504040204" pitchFamily="34" charset="0"/>
                </a:rPr>
                <a:t>Kestävien tulosten aikaansaaminen edellyttää painopistevalintojen toimeenpanon seurantaa kustannusten tarkastelua laajemmin.</a:t>
              </a:r>
            </a:p>
            <a:p>
              <a:pPr algn="ctr" defTabSz="742950">
                <a:buClr>
                  <a:srgbClr val="005ADE"/>
                </a:buClr>
                <a:defRPr/>
              </a:pPr>
              <a:endParaRPr lang="fi-FI" sz="1600">
                <a:ea typeface="Verdana" panose="020B0604030504040204" pitchFamily="34" charset="0"/>
              </a:endParaRPr>
            </a:p>
            <a:p>
              <a:pPr algn="ctr" defTabSz="742950">
                <a:buClr>
                  <a:srgbClr val="005ADE"/>
                </a:buClr>
                <a:defRPr/>
              </a:pPr>
              <a:r>
                <a:rPr lang="fi-FI" sz="1600">
                  <a:ea typeface="Verdana" panose="020B0604030504040204" pitchFamily="34" charset="0"/>
                </a:rPr>
                <a:t>Systemaattinen seurantatiedon analysointi tukee oppimista ja nousevien alojen tunnistamista.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CF95223-C005-AF90-54A8-42820EBEA931}"/>
                </a:ext>
              </a:extLst>
            </p:cNvPr>
            <p:cNvSpPr txBox="1">
              <a:spLocks/>
            </p:cNvSpPr>
            <p:nvPr/>
          </p:nvSpPr>
          <p:spPr>
            <a:xfrm>
              <a:off x="8742552" y="5144385"/>
              <a:ext cx="2599498" cy="16174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742950">
                <a:buClr>
                  <a:srgbClr val="005ADE"/>
                </a:buClr>
                <a:defRPr/>
              </a:pPr>
              <a:r>
                <a:rPr lang="fi-FI" sz="1600" b="1">
                  <a:ea typeface="Verdana" panose="020B0604030504040204" pitchFamily="34" charset="0"/>
                </a:rPr>
                <a:t>Painopistevalintojen toimeenpanon seurannassa huomiota tulee kiinnittää erityisesti kokonaiskuvan luomiseen ja toimien vaikuttavuuteen.</a:t>
              </a: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6D3CF2-2707-F98F-6B47-9C7763281C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24399" y="6102837"/>
            <a:ext cx="3117065" cy="409920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078C10-ABC5-4EF7-9B5E-599CE2B16BF5}" type="slidenum">
              <a:rPr kumimoji="0" lang="LID4096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LID4096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8041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23D133-CC7B-5196-B4FB-72022168C1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58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23D133-CC7B-5196-B4FB-72022168C1D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455E95-11A2-83E6-4379-996BA95D6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7" y="-264363"/>
            <a:ext cx="10080626" cy="5759451"/>
          </a:xfrm>
        </p:spPr>
        <p:txBody>
          <a:bodyPr vert="horz"/>
          <a:lstStyle/>
          <a:p>
            <a:r>
              <a:rPr lang="fi-FI"/>
              <a:t>Kiitos!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40D22E3B-563E-7236-FAEC-9A566123FE38}"/>
              </a:ext>
            </a:extLst>
          </p:cNvPr>
          <p:cNvSpPr txBox="1">
            <a:spLocks/>
          </p:cNvSpPr>
          <p:nvPr/>
        </p:nvSpPr>
        <p:spPr>
          <a:xfrm>
            <a:off x="2612145" y="4044414"/>
            <a:ext cx="2651138" cy="299741"/>
          </a:xfrm>
          <a:prstGeom prst="roundRect">
            <a:avLst/>
          </a:prstGeom>
        </p:spPr>
        <p:txBody>
          <a:bodyPr lIns="72000" tIns="0" rIns="0" bIns="0" anchor="ctr"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27305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1809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1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00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6pPr>
            <a:lvl7pPr marL="1793875" indent="-265113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2063750" indent="-274638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2335213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fi-FI" sz="2000" b="1" i="0" u="none" strike="noStrike" kern="1200" cap="none" spc="1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Kirsi Pulkkine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CB5E88FD-9C12-4362-9EE7-FE59ED4AB167}"/>
              </a:ext>
            </a:extLst>
          </p:cNvPr>
          <p:cNvSpPr txBox="1">
            <a:spLocks/>
          </p:cNvSpPr>
          <p:nvPr/>
        </p:nvSpPr>
        <p:spPr>
          <a:xfrm>
            <a:off x="2546831" y="4705137"/>
            <a:ext cx="2949927" cy="1112297"/>
          </a:xfrm>
          <a:prstGeom prst="roundRect">
            <a:avLst/>
          </a:prstGeom>
        </p:spPr>
        <p:txBody>
          <a:bodyPr lIns="72000" anchor="ctr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16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2400" indent="-259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7200" indent="-23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43200" indent="-19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5713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1925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6075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800"/>
              <a:t>Johtava asiantuntija</a:t>
            </a:r>
          </a:p>
          <a:p>
            <a:pPr marL="0" indent="0">
              <a:buNone/>
            </a:pPr>
            <a:r>
              <a:rPr lang="fi-FI" sz="1800" err="1"/>
              <a:t>Sweco</a:t>
            </a:r>
            <a:r>
              <a:rPr lang="fi-FI" sz="1800"/>
              <a:t> Finland</a:t>
            </a:r>
          </a:p>
          <a:p>
            <a:pPr marL="0" indent="0">
              <a:buNone/>
            </a:pPr>
            <a:r>
              <a:rPr lang="fi-FI" sz="1800" err="1"/>
              <a:t>kirsi.pulkkinen@sweco.fi</a:t>
            </a:r>
            <a:endParaRPr lang="fi-FI" sz="1800"/>
          </a:p>
          <a:p>
            <a:pPr marL="0" indent="0">
              <a:buNone/>
            </a:pPr>
            <a:endParaRPr lang="fi-FI" sz="180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4DD00347-1FC7-F4A3-CC48-B0E7CB2F09DB}"/>
              </a:ext>
            </a:extLst>
          </p:cNvPr>
          <p:cNvSpPr txBox="1">
            <a:spLocks/>
          </p:cNvSpPr>
          <p:nvPr/>
        </p:nvSpPr>
        <p:spPr>
          <a:xfrm>
            <a:off x="6815730" y="4024165"/>
            <a:ext cx="2925552" cy="340238"/>
          </a:xfrm>
          <a:prstGeom prst="roundRect">
            <a:avLst/>
          </a:prstGeom>
        </p:spPr>
        <p:txBody>
          <a:bodyPr lIns="72000" tIns="0" rIns="0" bIns="0" anchor="ctr"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27305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1809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1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00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6pPr>
            <a:lvl7pPr marL="1793875" indent="-265113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2063750" indent="-274638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2335213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fi-FI" sz="2000" b="1" i="0" u="none" strike="noStrike" kern="1200" cap="none" spc="1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Helena </a:t>
            </a:r>
            <a:r>
              <a:rPr kumimoji="0" lang="fi-FI" sz="2000" b="1" i="0" u="none" strike="noStrike" kern="1200" cap="none" spc="10" normalizeH="0" baseline="0" noProof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Mustikainen</a:t>
            </a:r>
            <a:endParaRPr kumimoji="0" lang="fi-FI" sz="2000" b="1" i="0" u="none" strike="noStrike" kern="1200" cap="none" spc="10" normalizeH="0" baseline="0" noProof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95AA65B6-51AE-E939-5935-345F61EC5EC9}"/>
              </a:ext>
            </a:extLst>
          </p:cNvPr>
          <p:cNvSpPr txBox="1">
            <a:spLocks/>
          </p:cNvSpPr>
          <p:nvPr/>
        </p:nvSpPr>
        <p:spPr>
          <a:xfrm>
            <a:off x="6815730" y="4451975"/>
            <a:ext cx="4031510" cy="1266825"/>
          </a:xfrm>
          <a:prstGeom prst="roundRect">
            <a:avLst/>
          </a:prstGeom>
        </p:spPr>
        <p:txBody>
          <a:bodyPr lIns="72000" anchor="ctr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16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2400" indent="-259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7200" indent="-23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43200" indent="-19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5713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1925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6075" indent="-1841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/>
              <a:t>P</a:t>
            </a:r>
            <a:r>
              <a:rPr lang="fi-FI" sz="1800" err="1"/>
              <a:t>rojektin</a:t>
            </a:r>
            <a:r>
              <a:rPr lang="fi-FI" sz="1800"/>
              <a:t> vetäjä</a:t>
            </a:r>
          </a:p>
          <a:p>
            <a:pPr marL="0" indent="0">
              <a:buNone/>
            </a:pPr>
            <a:r>
              <a:rPr lang="fi-FI" sz="1800"/>
              <a:t>Kestävän kasvun innovaatiot, Sitra</a:t>
            </a:r>
          </a:p>
          <a:p>
            <a:pPr marL="0" indent="0">
              <a:buNone/>
            </a:pPr>
            <a:r>
              <a:rPr lang="fi-FI" sz="1800" err="1"/>
              <a:t>helena.mustikainen@sitra.fi</a:t>
            </a:r>
            <a:endParaRPr lang="fi-FI" sz="18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B29757-FEA3-66E3-E99F-CA51E3A2B4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24400" y="6139781"/>
            <a:ext cx="2743200" cy="441494"/>
          </a:xfrm>
        </p:spPr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12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7376078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97F6337-2EBB-54F1-AA30-37224507377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325563"/>
            <a:ext cx="10515600" cy="1325563"/>
          </a:xfrm>
          <a:prstGeom prst="rect">
            <a:avLst/>
          </a:prstGeom>
        </p:spPr>
        <p:txBody>
          <a:bodyPr anchor="b"/>
          <a:lstStyle/>
          <a:p>
            <a:r>
              <a:rPr lang="en-US" dirty="0" err="1"/>
              <a:t>Tekoja</a:t>
            </a:r>
            <a:r>
              <a:rPr lang="en-US" dirty="0"/>
              <a:t> </a:t>
            </a:r>
            <a:r>
              <a:rPr lang="en-US" dirty="0" err="1"/>
              <a:t>tulevaisuudel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291687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FA41B8-E50F-9573-4D90-620B28F108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140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FA41B8-E50F-9573-4D90-620B28F1089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A445D41-47E7-D55E-4B51-AC2BC75C1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7" y="525239"/>
            <a:ext cx="11472862" cy="996790"/>
          </a:xfrm>
        </p:spPr>
        <p:txBody>
          <a:bodyPr vert="horz" lIns="91440" tIns="45720" rIns="91440" bIns="45720" anchor="t"/>
          <a:lstStyle/>
          <a:p>
            <a:r>
              <a:rPr lang="fi-FI" dirty="0"/>
              <a:t>Selvityksen tavoitteena oli tunnistaa Suomeen soveltuvia hyviä käytäntöjä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8A9D09-0602-D651-0D33-2F7CC4198F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358777" y="2756278"/>
            <a:ext cx="11472862" cy="3420737"/>
          </a:xfrm>
          <a:prstGeom prst="rect">
            <a:avLst/>
          </a:prstGeom>
          <a:solidFill>
            <a:srgbClr val="D7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49B6F53-F1C7-22C0-A8DB-7E4F06D487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400344" y="1781074"/>
            <a:ext cx="2028486" cy="1999775"/>
          </a:xfrm>
          <a:prstGeom prst="ellipse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D31A73-1B9D-5373-771A-271B0FC79F8E}"/>
              </a:ext>
            </a:extLst>
          </p:cNvPr>
          <p:cNvSpPr>
            <a:spLocks/>
          </p:cNvSpPr>
          <p:nvPr/>
        </p:nvSpPr>
        <p:spPr>
          <a:xfrm>
            <a:off x="756515" y="3960576"/>
            <a:ext cx="3528749" cy="1865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rtlCol="0" anchor="t"/>
          <a:lstStyle/>
          <a:p>
            <a:pPr algn="ctr">
              <a:spcAft>
                <a:spcPts val="600"/>
              </a:spcAft>
            </a:pPr>
            <a:r>
              <a:rPr lang="fi-FI" sz="1600">
                <a:solidFill>
                  <a:schemeClr val="tx1"/>
                </a:solidFill>
              </a:rPr>
              <a:t>TKI-toiminnalla on keskeinen rooli Suomen osaamisen, talouden ja kilpailukyvyn kehittämisessä.</a:t>
            </a:r>
          </a:p>
          <a:p>
            <a:pPr algn="ctr">
              <a:spcAft>
                <a:spcPts val="600"/>
              </a:spcAft>
            </a:pPr>
            <a:endParaRPr lang="fi-FI" sz="1600">
              <a:solidFill>
                <a:schemeClr val="tx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fi-FI" sz="1600">
                <a:solidFill>
                  <a:schemeClr val="tx1"/>
                </a:solidFill>
              </a:rPr>
              <a:t>Suomen TKI-toiminnan panostukset ovat kehittyneet verrokkimaita heikommin ja TKI-kehitys on eriytynyt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36931DE-1257-3F8C-8436-73180A593D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058111" y="1775264"/>
            <a:ext cx="2043075" cy="1999775"/>
          </a:xfrm>
          <a:prstGeom prst="ellipse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86D11A-3FC4-775F-FB01-391568A1E1F5}"/>
              </a:ext>
            </a:extLst>
          </p:cNvPr>
          <p:cNvSpPr>
            <a:spLocks/>
          </p:cNvSpPr>
          <p:nvPr/>
        </p:nvSpPr>
        <p:spPr>
          <a:xfrm>
            <a:off x="4490317" y="3960576"/>
            <a:ext cx="3291607" cy="1865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rtlCol="0" anchor="t"/>
          <a:lstStyle/>
          <a:p>
            <a:pPr algn="ctr">
              <a:spcAft>
                <a:spcPts val="600"/>
              </a:spcAft>
            </a:pPr>
            <a:r>
              <a:rPr lang="fi-FI" sz="1600">
                <a:solidFill>
                  <a:schemeClr val="tx1"/>
                </a:solidFill>
              </a:rPr>
              <a:t>Suomessa ei ole läpinäkyvää  ja systemaattista prosessia päättää kansallisista TKI-painopisteistä.</a:t>
            </a:r>
          </a:p>
          <a:p>
            <a:pPr algn="ctr">
              <a:spcAft>
                <a:spcPts val="600"/>
              </a:spcAft>
            </a:pPr>
            <a:endParaRPr lang="fi-FI" sz="1600">
              <a:solidFill>
                <a:schemeClr val="tx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fi-FI" sz="1600">
                <a:solidFill>
                  <a:schemeClr val="tx1"/>
                </a:solidFill>
              </a:rPr>
              <a:t>Kiristyvässä kilpailuympäristössä Suomen kykyä tehdä strategisia valintoja tulisi vahvistaa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3275EDC-811F-601A-E505-141F1D4AE4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8807805" y="1775264"/>
            <a:ext cx="2043075" cy="1999775"/>
          </a:xfrm>
          <a:prstGeom prst="ellipse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B229A5A-BC9B-E515-505F-ED7B2829CD9F}"/>
              </a:ext>
            </a:extLst>
          </p:cNvPr>
          <p:cNvSpPr>
            <a:spLocks/>
          </p:cNvSpPr>
          <p:nvPr/>
        </p:nvSpPr>
        <p:spPr>
          <a:xfrm>
            <a:off x="8105546" y="3963514"/>
            <a:ext cx="3502129" cy="18814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rtlCol="0" anchor="t"/>
          <a:lstStyle/>
          <a:p>
            <a:pPr algn="ctr"/>
            <a:r>
              <a:rPr lang="fi-FI" sz="1600">
                <a:solidFill>
                  <a:schemeClr val="tx1"/>
                </a:solidFill>
              </a:rPr>
              <a:t>Tarkasteltavina verrokkimaina olivat Alankomaat, Ruotsi, Tanska ja Norja.</a:t>
            </a:r>
          </a:p>
          <a:p>
            <a:pPr algn="ctr"/>
            <a:endParaRPr lang="fi-FI" sz="1600">
              <a:solidFill>
                <a:schemeClr val="tx1"/>
              </a:solidFill>
            </a:endParaRPr>
          </a:p>
          <a:p>
            <a:pPr algn="ctr"/>
            <a:br>
              <a:rPr lang="fi-FI" sz="1600">
                <a:solidFill>
                  <a:schemeClr val="tx1"/>
                </a:solidFill>
              </a:rPr>
            </a:br>
            <a:r>
              <a:rPr lang="fi-FI" sz="1600">
                <a:solidFill>
                  <a:schemeClr val="tx1"/>
                </a:solidFill>
              </a:rPr>
              <a:t>Huomio kiinnitettiin toimijoiden rooleihin ja vuorovaikutukseen, toimintatapoihin, valintojen kohdentumisen sekä aikajänteeseen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4A6FC80-E315-1D21-EFF2-36B1ED9139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14798" y="2173634"/>
            <a:ext cx="1253105" cy="1253105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D2BB0B8-392A-541D-C4BD-9B456F567B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183234" y="2081611"/>
            <a:ext cx="1346755" cy="1346755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2B0BEBE5-F8DD-A35C-099E-207583693F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85757" y="2081611"/>
            <a:ext cx="1420485" cy="1420485"/>
          </a:xfrm>
          <a:prstGeom prst="rect">
            <a:avLst/>
          </a:prstGeom>
        </p:spPr>
      </p:pic>
      <p:pic>
        <p:nvPicPr>
          <p:cNvPr id="4" name="Picture 5" descr="Sitra-logo&#10;">
            <a:extLst>
              <a:ext uri="{FF2B5EF4-FFF2-40B4-BE49-F238E27FC236}">
                <a16:creationId xmlns:a16="http://schemas.microsoft.com/office/drawing/2014/main" id="{7D186044-5339-9626-877D-5824625F1C2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6D3CF2-2707-F98F-6B47-9C7763281C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078C10-ABC5-4EF7-9B5E-599CE2B16BF5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599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A91E36A-9B75-C5D7-C153-257A870DA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4763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91E36A-9B75-C5D7-C153-257A870DAD21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2A0B9824-1296-0F19-B75E-88881C7865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7" y="525239"/>
            <a:ext cx="11472862" cy="996790"/>
          </a:xfrm>
        </p:spPr>
        <p:txBody>
          <a:bodyPr vert="horz" lIns="91440" tIns="45720" rIns="91440" bIns="45720" anchor="t"/>
          <a:lstStyle/>
          <a:p>
            <a:r>
              <a:rPr lang="fi-FI" dirty="0"/>
              <a:t>Selvityksen keskeiset havainnot</a:t>
            </a:r>
          </a:p>
        </p:txBody>
      </p:sp>
      <p:sp>
        <p:nvSpPr>
          <p:cNvPr id="7" name="Rounded Rectangle 4">
            <a:extLst>
              <a:ext uri="{FF2B5EF4-FFF2-40B4-BE49-F238E27FC236}">
                <a16:creationId xmlns:a16="http://schemas.microsoft.com/office/drawing/2014/main" id="{6B7E4B97-734E-A524-4B25-AB67E311836B}"/>
              </a:ext>
            </a:extLst>
          </p:cNvPr>
          <p:cNvSpPr/>
          <p:nvPr/>
        </p:nvSpPr>
        <p:spPr>
          <a:xfrm>
            <a:off x="1362346" y="1525190"/>
            <a:ext cx="9745921" cy="1307430"/>
          </a:xfrm>
          <a:prstGeom prst="rect">
            <a:avLst/>
          </a:prstGeom>
          <a:solidFill>
            <a:srgbClr val="D7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6000" rtlCol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accent1"/>
              </a:buClr>
              <a:buFont typeface="Arial" pitchFamily="34" charset="0"/>
              <a:buChar char="•"/>
            </a:pPr>
            <a:r>
              <a:rPr lang="fi-FI">
                <a:solidFill>
                  <a:schemeClr val="tx1"/>
                </a:solidFill>
              </a:rPr>
              <a:t>Selkeät, pitkän aikavälin tavoitteet tukemaan uudistumista</a:t>
            </a:r>
          </a:p>
          <a:p>
            <a:pPr>
              <a:buClr>
                <a:schemeClr val="accent1"/>
              </a:buClr>
            </a:pPr>
            <a:endParaRPr lang="fi-FI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Arial" pitchFamily="34" charset="0"/>
              <a:buChar char="•"/>
            </a:pPr>
            <a:r>
              <a:rPr lang="fi-FI">
                <a:solidFill>
                  <a:schemeClr val="tx1"/>
                </a:solidFill>
              </a:rPr>
              <a:t>Parlamentaarisella yhteistyöllä keskeinen rooli ja vakiintuneet käytännö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CD156C-55A0-15F3-CBF9-ECE70036984C}"/>
              </a:ext>
            </a:extLst>
          </p:cNvPr>
          <p:cNvSpPr/>
          <p:nvPr/>
        </p:nvSpPr>
        <p:spPr>
          <a:xfrm>
            <a:off x="922930" y="1435190"/>
            <a:ext cx="1584000" cy="1475049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/>
              <a:t>1</a:t>
            </a:r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8C8580C5-D584-1BC8-7F4E-7A367DE3A16A}"/>
              </a:ext>
            </a:extLst>
          </p:cNvPr>
          <p:cNvSpPr/>
          <p:nvPr/>
        </p:nvSpPr>
        <p:spPr>
          <a:xfrm>
            <a:off x="1362346" y="3143609"/>
            <a:ext cx="9745921" cy="1307430"/>
          </a:xfrm>
          <a:prstGeom prst="rect">
            <a:avLst/>
          </a:prstGeom>
          <a:solidFill>
            <a:srgbClr val="D7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6000" rtlCol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accent1"/>
              </a:buClr>
              <a:buFont typeface="Arial" pitchFamily="34" charset="0"/>
              <a:buChar char="•"/>
            </a:pPr>
            <a:r>
              <a:rPr lang="fi-FI">
                <a:solidFill>
                  <a:schemeClr val="tx1"/>
                </a:solidFill>
              </a:rPr>
              <a:t>Systemaattinen vuorovaikutus vahvistamaan toimijoiden sitoutumista</a:t>
            </a:r>
          </a:p>
          <a:p>
            <a:pPr>
              <a:buClr>
                <a:schemeClr val="accent1"/>
              </a:buClr>
            </a:pPr>
            <a:endParaRPr lang="fi-FI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Arial" pitchFamily="34" charset="0"/>
              <a:buChar char="•"/>
            </a:pPr>
            <a:r>
              <a:rPr lang="fi-FI">
                <a:solidFill>
                  <a:schemeClr val="tx1"/>
                </a:solidFill>
              </a:rPr>
              <a:t>Aktiivinen vuorovaikutus ratkaisevaa luottamuksen luomisessa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2D3BB8E-D8BF-1C9B-E32B-27DABCBA76EC}"/>
              </a:ext>
            </a:extLst>
          </p:cNvPr>
          <p:cNvSpPr/>
          <p:nvPr/>
        </p:nvSpPr>
        <p:spPr>
          <a:xfrm>
            <a:off x="922930" y="3053609"/>
            <a:ext cx="1584000" cy="1475049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/>
              <a:t>2</a:t>
            </a:r>
          </a:p>
        </p:txBody>
      </p:sp>
      <p:sp>
        <p:nvSpPr>
          <p:cNvPr id="11" name="Rounded Rectangle 11">
            <a:extLst>
              <a:ext uri="{FF2B5EF4-FFF2-40B4-BE49-F238E27FC236}">
                <a16:creationId xmlns:a16="http://schemas.microsoft.com/office/drawing/2014/main" id="{E8AA384B-34BA-37B3-4B34-AA6FAA7F07BA}"/>
              </a:ext>
            </a:extLst>
          </p:cNvPr>
          <p:cNvSpPr/>
          <p:nvPr/>
        </p:nvSpPr>
        <p:spPr>
          <a:xfrm>
            <a:off x="1362346" y="4727785"/>
            <a:ext cx="9745921" cy="1307430"/>
          </a:xfrm>
          <a:prstGeom prst="rect">
            <a:avLst/>
          </a:prstGeom>
          <a:solidFill>
            <a:srgbClr val="D7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6000" rtlCol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accent1"/>
              </a:buClr>
              <a:buFont typeface="Arial" pitchFamily="34" charset="0"/>
              <a:buChar char="•"/>
            </a:pPr>
            <a:r>
              <a:rPr lang="fi-FI">
                <a:solidFill>
                  <a:schemeClr val="tx1"/>
                </a:solidFill>
              </a:rPr>
              <a:t>Moninäkökulmainen seuranta tukemaan kestävien tulosten aikaansaamista</a:t>
            </a:r>
          </a:p>
          <a:p>
            <a:pPr marL="342900" indent="-342900">
              <a:buClr>
                <a:schemeClr val="accent1"/>
              </a:buClr>
              <a:buFont typeface="Arial" pitchFamily="34" charset="0"/>
              <a:buChar char="•"/>
            </a:pPr>
            <a:endParaRPr lang="fi-FI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Arial" pitchFamily="34" charset="0"/>
              <a:buChar char="•"/>
            </a:pPr>
            <a:r>
              <a:rPr lang="fi-FI">
                <a:solidFill>
                  <a:schemeClr val="tx1"/>
                </a:solidFill>
              </a:rPr>
              <a:t>Systemaattisuus keskeistä vaikuttavuuden hahmottamiseksi</a:t>
            </a:r>
            <a:endParaRPr lang="fi-FI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9789DDB-9D34-153E-82AB-5A4D7A0CC6A1}"/>
              </a:ext>
            </a:extLst>
          </p:cNvPr>
          <p:cNvSpPr/>
          <p:nvPr/>
        </p:nvSpPr>
        <p:spPr>
          <a:xfrm>
            <a:off x="922930" y="4637785"/>
            <a:ext cx="1584000" cy="1475049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/>
              <a:t>3</a:t>
            </a:r>
          </a:p>
        </p:txBody>
      </p:sp>
      <p:pic>
        <p:nvPicPr>
          <p:cNvPr id="2" name="Picture 5" descr="Sitra-logo">
            <a:extLst>
              <a:ext uri="{FF2B5EF4-FFF2-40B4-BE49-F238E27FC236}">
                <a16:creationId xmlns:a16="http://schemas.microsoft.com/office/drawing/2014/main" id="{D969CDE4-83D3-385C-EDA4-301A183B0C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3908" y="6489700"/>
            <a:ext cx="962517" cy="18115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6D3CF2-2707-F98F-6B47-9C7763281C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24400" y="6796881"/>
            <a:ext cx="2743200" cy="365125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078C10-ABC5-4EF7-9B5E-599CE2B16BF5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351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36C284F-97CB-6DFD-5D14-C7F1D6B36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Verrokkimaiden</a:t>
            </a:r>
            <a:r>
              <a:rPr lang="en-GB"/>
              <a:t> </a:t>
            </a:r>
            <a:r>
              <a:rPr lang="en-GB" err="1"/>
              <a:t>valintaprosessit</a:t>
            </a:r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5A35F6A0-75AD-DCFC-41CA-16952EBE58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3C87204F-424E-9725-F85F-A51803D32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3E078C10-ABC5-4EF7-9B5E-599CE2B16BF5}" type="slidenum">
              <a:rPr lang="LID4096" smtClean="0"/>
              <a:pPr algn="ctr"/>
              <a:t>4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689656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>
            <a:extLst>
              <a:ext uri="{FF2B5EF4-FFF2-40B4-BE49-F238E27FC236}">
                <a16:creationId xmlns:a16="http://schemas.microsoft.com/office/drawing/2014/main" id="{C2AB012F-9AE0-1D05-9FE9-499CB893E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125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think-cell data - do not delete">
                        <a:extLst>
                          <a:ext uri="{FF2B5EF4-FFF2-40B4-BE49-F238E27FC236}">
                            <a16:creationId xmlns:a16="http://schemas.microsoft.com/office/drawing/2014/main" id="{C2AB012F-9AE0-1D05-9FE9-499CB893E79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2C6FAB8-664B-ECEE-BE61-D95B21508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82" y="164546"/>
            <a:ext cx="10080625" cy="1130356"/>
          </a:xfrm>
        </p:spPr>
        <p:txBody>
          <a:bodyPr vert="horz"/>
          <a:lstStyle/>
          <a:p>
            <a:r>
              <a:rPr lang="fi-FI" sz="3600" dirty="0"/>
              <a:t>Alankomaat</a:t>
            </a:r>
            <a:endParaRPr lang="en-FI" sz="3600" dirty="0"/>
          </a:p>
        </p:txBody>
      </p:sp>
      <p:sp>
        <p:nvSpPr>
          <p:cNvPr id="6" name="Right Arrow 24">
            <a:extLst>
              <a:ext uri="{FF2B5EF4-FFF2-40B4-BE49-F238E27FC236}">
                <a16:creationId xmlns:a16="http://schemas.microsoft.com/office/drawing/2014/main" id="{D2267121-4AA8-E4FE-9126-B43709ED40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5453" y="5821515"/>
            <a:ext cx="1170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Right Arrow 24">
            <a:extLst>
              <a:ext uri="{FF2B5EF4-FFF2-40B4-BE49-F238E27FC236}">
                <a16:creationId xmlns:a16="http://schemas.microsoft.com/office/drawing/2014/main" id="{BB429FD2-80B0-F029-3620-D060117E1E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478048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Right Arrow 24">
            <a:extLst>
              <a:ext uri="{FF2B5EF4-FFF2-40B4-BE49-F238E27FC236}">
                <a16:creationId xmlns:a16="http://schemas.microsoft.com/office/drawing/2014/main" id="{40C8B82A-B634-CBBA-B7AE-5CE87AE39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3997" y="3993966"/>
            <a:ext cx="1170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Right Arrow 24">
            <a:extLst>
              <a:ext uri="{FF2B5EF4-FFF2-40B4-BE49-F238E27FC236}">
                <a16:creationId xmlns:a16="http://schemas.microsoft.com/office/drawing/2014/main" id="{42B74C58-5870-A17D-A8A8-04BF5D5DC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3682" y="296402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0" name="Right Arrow 24">
            <a:extLst>
              <a:ext uri="{FF2B5EF4-FFF2-40B4-BE49-F238E27FC236}">
                <a16:creationId xmlns:a16="http://schemas.microsoft.com/office/drawing/2014/main" id="{0F466C70-6F19-FDE5-DA19-6632511BC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1927873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Right Arrow 24">
            <a:extLst>
              <a:ext uri="{FF2B5EF4-FFF2-40B4-BE49-F238E27FC236}">
                <a16:creationId xmlns:a16="http://schemas.microsoft.com/office/drawing/2014/main" id="{2D63BFF3-AC30-3BB5-9992-54C565F651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3997" y="889028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8" name="Suorakulmio 7">
            <a:extLst>
              <a:ext uri="{FF2B5EF4-FFF2-40B4-BE49-F238E27FC236}">
                <a16:creationId xmlns:a16="http://schemas.microsoft.com/office/drawing/2014/main" id="{2185E365-FB2D-02DA-8B95-29BCB822E4E8}"/>
              </a:ext>
            </a:extLst>
          </p:cNvPr>
          <p:cNvSpPr>
            <a:spLocks/>
          </p:cNvSpPr>
          <p:nvPr/>
        </p:nvSpPr>
        <p:spPr>
          <a:xfrm>
            <a:off x="343257" y="833964"/>
            <a:ext cx="252146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>
                <a:solidFill>
                  <a:schemeClr val="tx1"/>
                </a:solidFill>
              </a:rPr>
              <a:t>Prosessin laajuus ja kohdentuminen</a:t>
            </a:r>
          </a:p>
        </p:txBody>
      </p:sp>
      <p:sp>
        <p:nvSpPr>
          <p:cNvPr id="13" name="Suorakulmio 7">
            <a:extLst>
              <a:ext uri="{FF2B5EF4-FFF2-40B4-BE49-F238E27FC236}">
                <a16:creationId xmlns:a16="http://schemas.microsoft.com/office/drawing/2014/main" id="{3C92B94E-5C4C-9A3D-CDEC-3A940B35D4E0}"/>
              </a:ext>
            </a:extLst>
          </p:cNvPr>
          <p:cNvSpPr>
            <a:spLocks/>
          </p:cNvSpPr>
          <p:nvPr/>
        </p:nvSpPr>
        <p:spPr>
          <a:xfrm>
            <a:off x="3102497" y="871659"/>
            <a:ext cx="4823347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>
                <a:solidFill>
                  <a:schemeClr val="tx1"/>
                </a:solidFill>
              </a:rPr>
              <a:t>2 toisiinsa kytkettyä ohjelmaa: t</a:t>
            </a:r>
            <a:r>
              <a:rPr lang="fi-FI" sz="1600" noProof="0" err="1">
                <a:solidFill>
                  <a:schemeClr val="tx1"/>
                </a:solidFill>
              </a:rPr>
              <a:t>utkimusohjelmalla</a:t>
            </a:r>
            <a:r>
              <a:rPr lang="fi-FI" sz="1600" noProof="0">
                <a:solidFill>
                  <a:schemeClr val="tx1"/>
                </a:solidFill>
              </a:rPr>
              <a:t> oma ohjelmakomitea, </a:t>
            </a:r>
            <a:r>
              <a:rPr lang="fi-FI" sz="1600" noProof="0" err="1">
                <a:solidFill>
                  <a:schemeClr val="tx1"/>
                </a:solidFill>
              </a:rPr>
              <a:t>osaami</a:t>
            </a:r>
            <a:r>
              <a:rPr lang="fi-FI" sz="1600">
                <a:solidFill>
                  <a:schemeClr val="tx1"/>
                </a:solidFill>
              </a:rPr>
              <a:t>s- ja innovaatiosopimus </a:t>
            </a:r>
            <a:r>
              <a:rPr lang="fi-FI" sz="1600" err="1">
                <a:solidFill>
                  <a:schemeClr val="tx1"/>
                </a:solidFill>
              </a:rPr>
              <a:t>osallistaa</a:t>
            </a:r>
            <a:r>
              <a:rPr lang="fi-FI" sz="1600">
                <a:solidFill>
                  <a:schemeClr val="tx1"/>
                </a:solidFill>
              </a:rPr>
              <a:t> erityisesti yrityksiä</a:t>
            </a:r>
            <a:endParaRPr lang="fi-FI" sz="1600" noProof="0">
              <a:solidFill>
                <a:schemeClr val="tx1"/>
              </a:solidFill>
            </a:endParaRPr>
          </a:p>
        </p:txBody>
      </p:sp>
      <p:sp>
        <p:nvSpPr>
          <p:cNvPr id="12" name="Suorakulmio 7">
            <a:extLst>
              <a:ext uri="{FF2B5EF4-FFF2-40B4-BE49-F238E27FC236}">
                <a16:creationId xmlns:a16="http://schemas.microsoft.com/office/drawing/2014/main" id="{E74E0AAE-395D-9A86-52A2-D28A4FC276F6}"/>
              </a:ext>
            </a:extLst>
          </p:cNvPr>
          <p:cNvSpPr>
            <a:spLocks/>
          </p:cNvSpPr>
          <p:nvPr/>
        </p:nvSpPr>
        <p:spPr>
          <a:xfrm>
            <a:off x="8229580" y="1085489"/>
            <a:ext cx="3632991" cy="6073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noProof="0">
                <a:solidFill>
                  <a:schemeClr val="tx1"/>
                </a:solidFill>
              </a:rPr>
              <a:t>Esim. ilmasto, energia, maatalous, terveys, hoiva. </a:t>
            </a:r>
            <a:r>
              <a:rPr lang="fi-FI" sz="1600">
                <a:solidFill>
                  <a:schemeClr val="tx1"/>
                </a:solidFill>
              </a:rPr>
              <a:t>O</a:t>
            </a:r>
            <a:r>
              <a:rPr lang="fi-FI" sz="1600" noProof="0" err="1">
                <a:solidFill>
                  <a:schemeClr val="tx1"/>
                </a:solidFill>
              </a:rPr>
              <a:t>hjelma</a:t>
            </a:r>
            <a:r>
              <a:rPr lang="fi-FI" sz="1600" noProof="0">
                <a:solidFill>
                  <a:schemeClr val="tx1"/>
                </a:solidFill>
              </a:rPr>
              <a:t> ratkaisee tieteen kysymyksiä, sopimus kehittää liiketoimintaa</a:t>
            </a:r>
          </a:p>
        </p:txBody>
      </p:sp>
      <p:sp>
        <p:nvSpPr>
          <p:cNvPr id="20" name="Suorakulmio 7">
            <a:extLst>
              <a:ext uri="{FF2B5EF4-FFF2-40B4-BE49-F238E27FC236}">
                <a16:creationId xmlns:a16="http://schemas.microsoft.com/office/drawing/2014/main" id="{0CAF1654-2811-FDBF-FA63-8F3C4B41FEB0}"/>
              </a:ext>
            </a:extLst>
          </p:cNvPr>
          <p:cNvSpPr>
            <a:spLocks/>
          </p:cNvSpPr>
          <p:nvPr/>
        </p:nvSpPr>
        <p:spPr>
          <a:xfrm>
            <a:off x="343257" y="1935836"/>
            <a:ext cx="2922895" cy="957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>
                <a:solidFill>
                  <a:schemeClr val="tx1"/>
                </a:solidFill>
              </a:rPr>
              <a:t>Hallinnonalojen rajat ylittävä yhteistyö ja vuorovaikutus</a:t>
            </a:r>
          </a:p>
        </p:txBody>
      </p:sp>
      <p:sp>
        <p:nvSpPr>
          <p:cNvPr id="21" name="Suorakulmio 7">
            <a:extLst>
              <a:ext uri="{FF2B5EF4-FFF2-40B4-BE49-F238E27FC236}">
                <a16:creationId xmlns:a16="http://schemas.microsoft.com/office/drawing/2014/main" id="{B2938794-E6D3-2C9A-F10C-103595A01565}"/>
              </a:ext>
            </a:extLst>
          </p:cNvPr>
          <p:cNvSpPr>
            <a:spLocks/>
          </p:cNvSpPr>
          <p:nvPr/>
        </p:nvSpPr>
        <p:spPr>
          <a:xfrm>
            <a:off x="3102497" y="1924608"/>
            <a:ext cx="49407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noProof="0">
                <a:solidFill>
                  <a:schemeClr val="tx1"/>
                </a:solidFill>
              </a:rPr>
              <a:t>Kaksi ministeriötä ohjaa yhteistä tutkimusneuvostoa, yhteistyö hallinnonalojen välillä on tiivistä ja ennakoitavaa</a:t>
            </a:r>
          </a:p>
        </p:txBody>
      </p:sp>
      <p:sp>
        <p:nvSpPr>
          <p:cNvPr id="26" name="Suorakulmio 7">
            <a:extLst>
              <a:ext uri="{FF2B5EF4-FFF2-40B4-BE49-F238E27FC236}">
                <a16:creationId xmlns:a16="http://schemas.microsoft.com/office/drawing/2014/main" id="{FDAE5435-E89E-0000-0519-986F3321EC16}"/>
              </a:ext>
            </a:extLst>
          </p:cNvPr>
          <p:cNvSpPr>
            <a:spLocks/>
          </p:cNvSpPr>
          <p:nvPr/>
        </p:nvSpPr>
        <p:spPr>
          <a:xfrm>
            <a:off x="8229580" y="1945613"/>
            <a:ext cx="38026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oimijoiden rooleissa eri painotukset tutkimusohjelmassa ja osaamis- ja innovaatiosopimuksessa</a:t>
            </a:r>
            <a:endParaRPr lang="fi-FI" sz="1600" noProof="0" dirty="0">
              <a:solidFill>
                <a:schemeClr val="tx1"/>
              </a:solidFill>
            </a:endParaRPr>
          </a:p>
        </p:txBody>
      </p:sp>
      <p:sp>
        <p:nvSpPr>
          <p:cNvPr id="14" name="Suorakulmio 7">
            <a:extLst>
              <a:ext uri="{FF2B5EF4-FFF2-40B4-BE49-F238E27FC236}">
                <a16:creationId xmlns:a16="http://schemas.microsoft.com/office/drawing/2014/main" id="{04880EA9-155F-6A9B-D493-5C66BCE39CA7}"/>
              </a:ext>
            </a:extLst>
          </p:cNvPr>
          <p:cNvSpPr>
            <a:spLocks/>
          </p:cNvSpPr>
          <p:nvPr/>
        </p:nvSpPr>
        <p:spPr>
          <a:xfrm>
            <a:off x="343257" y="2965336"/>
            <a:ext cx="2689668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Vuorovaikutus keskeisten sidosryhmien kanssa</a:t>
            </a:r>
          </a:p>
        </p:txBody>
      </p:sp>
      <p:sp>
        <p:nvSpPr>
          <p:cNvPr id="22" name="Suorakulmio 7">
            <a:extLst>
              <a:ext uri="{FF2B5EF4-FFF2-40B4-BE49-F238E27FC236}">
                <a16:creationId xmlns:a16="http://schemas.microsoft.com/office/drawing/2014/main" id="{8F2E285D-7BD3-3899-B51A-1BBDBCE29422}"/>
              </a:ext>
            </a:extLst>
          </p:cNvPr>
          <p:cNvSpPr>
            <a:spLocks/>
          </p:cNvSpPr>
          <p:nvPr/>
        </p:nvSpPr>
        <p:spPr>
          <a:xfrm>
            <a:off x="3102497" y="2997943"/>
            <a:ext cx="5141399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Vahva ja vakiintunut yhteistyö julkisen sektorin, tutkimusyhteisöjen ja yritysten välillä, jatkuvaa ja ennakoitavaa</a:t>
            </a:r>
            <a:endParaRPr lang="fi-FI" sz="1600" noProof="0" dirty="0">
              <a:solidFill>
                <a:schemeClr val="tx1"/>
              </a:solidFill>
            </a:endParaRPr>
          </a:p>
        </p:txBody>
      </p:sp>
      <p:sp>
        <p:nvSpPr>
          <p:cNvPr id="15" name="Suorakulmio 7">
            <a:extLst>
              <a:ext uri="{FF2B5EF4-FFF2-40B4-BE49-F238E27FC236}">
                <a16:creationId xmlns:a16="http://schemas.microsoft.com/office/drawing/2014/main" id="{C8D4224B-9AC2-94D8-9919-3D91ABC37414}"/>
              </a:ext>
            </a:extLst>
          </p:cNvPr>
          <p:cNvSpPr>
            <a:spLocks/>
          </p:cNvSpPr>
          <p:nvPr/>
        </p:nvSpPr>
        <p:spPr>
          <a:xfrm>
            <a:off x="343257" y="3839323"/>
            <a:ext cx="2709545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rosessin aikajänne</a:t>
            </a:r>
          </a:p>
        </p:txBody>
      </p:sp>
      <p:sp>
        <p:nvSpPr>
          <p:cNvPr id="23" name="Suorakulmio 7">
            <a:extLst>
              <a:ext uri="{FF2B5EF4-FFF2-40B4-BE49-F238E27FC236}">
                <a16:creationId xmlns:a16="http://schemas.microsoft.com/office/drawing/2014/main" id="{441BD78E-8F79-D8D0-7024-C85201AFCB7E}"/>
              </a:ext>
            </a:extLst>
          </p:cNvPr>
          <p:cNvSpPr>
            <a:spLocks/>
          </p:cNvSpPr>
          <p:nvPr/>
        </p:nvSpPr>
        <p:spPr>
          <a:xfrm>
            <a:off x="3102497" y="3869600"/>
            <a:ext cx="495997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Päivitys 4 vuoden välein, tutkimusohjelma ja osaamis- ja innovaatiosopimus eri aikataululla</a:t>
            </a:r>
            <a:endParaRPr lang="fi-FI" sz="1600" noProof="0" dirty="0">
              <a:solidFill>
                <a:schemeClr val="accent6"/>
              </a:solidFill>
            </a:endParaRPr>
          </a:p>
        </p:txBody>
      </p:sp>
      <p:sp>
        <p:nvSpPr>
          <p:cNvPr id="2" name="Suorakulmio 7">
            <a:extLst>
              <a:ext uri="{FF2B5EF4-FFF2-40B4-BE49-F238E27FC236}">
                <a16:creationId xmlns:a16="http://schemas.microsoft.com/office/drawing/2014/main" id="{5FC3E4EF-97E4-D039-9619-5DBCA86807AA}"/>
              </a:ext>
            </a:extLst>
          </p:cNvPr>
          <p:cNvSpPr>
            <a:spLocks/>
          </p:cNvSpPr>
          <p:nvPr/>
        </p:nvSpPr>
        <p:spPr>
          <a:xfrm>
            <a:off x="8229580" y="3879162"/>
            <a:ext cx="33581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Hallituskaudet ylittävä sykli, </a:t>
            </a:r>
            <a:r>
              <a:rPr lang="fi-FI" sz="1600" noProof="0" dirty="0">
                <a:solidFill>
                  <a:schemeClr val="tx1"/>
                </a:solidFill>
              </a:rPr>
              <a:t>parlamentarismi</a:t>
            </a:r>
          </a:p>
        </p:txBody>
      </p:sp>
      <p:sp>
        <p:nvSpPr>
          <p:cNvPr id="16" name="Suorakulmio 7">
            <a:extLst>
              <a:ext uri="{FF2B5EF4-FFF2-40B4-BE49-F238E27FC236}">
                <a16:creationId xmlns:a16="http://schemas.microsoft.com/office/drawing/2014/main" id="{A9A37B93-FE1C-A1EB-C1E7-5402767F1480}"/>
              </a:ext>
            </a:extLst>
          </p:cNvPr>
          <p:cNvSpPr>
            <a:spLocks/>
          </p:cNvSpPr>
          <p:nvPr/>
        </p:nvSpPr>
        <p:spPr>
          <a:xfrm>
            <a:off x="343257" y="478843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ainopisteiden tuloksellisuuden seuranta</a:t>
            </a:r>
          </a:p>
        </p:txBody>
      </p:sp>
      <p:sp>
        <p:nvSpPr>
          <p:cNvPr id="24" name="Suorakulmio 7">
            <a:extLst>
              <a:ext uri="{FF2B5EF4-FFF2-40B4-BE49-F238E27FC236}">
                <a16:creationId xmlns:a16="http://schemas.microsoft.com/office/drawing/2014/main" id="{5E7B0707-2269-B3C8-D754-D71751D27D4C}"/>
              </a:ext>
            </a:extLst>
          </p:cNvPr>
          <p:cNvSpPr>
            <a:spLocks/>
          </p:cNvSpPr>
          <p:nvPr/>
        </p:nvSpPr>
        <p:spPr>
          <a:xfrm>
            <a:off x="3102497" y="4790423"/>
            <a:ext cx="4929145" cy="989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noProof="0" dirty="0">
                <a:solidFill>
                  <a:schemeClr val="tx1"/>
                </a:solidFill>
              </a:rPr>
              <a:t>Tutkimusneuvosto koordinoi, systemaattinen tietopohja tukee toiminnan kehittämistä</a:t>
            </a:r>
          </a:p>
        </p:txBody>
      </p:sp>
      <p:sp>
        <p:nvSpPr>
          <p:cNvPr id="4" name="Suorakulmio 7">
            <a:extLst>
              <a:ext uri="{FF2B5EF4-FFF2-40B4-BE49-F238E27FC236}">
                <a16:creationId xmlns:a16="http://schemas.microsoft.com/office/drawing/2014/main" id="{16636EF6-BA0F-BB59-ADC9-3C85E53B9771}"/>
              </a:ext>
            </a:extLst>
          </p:cNvPr>
          <p:cNvSpPr>
            <a:spLocks/>
          </p:cNvSpPr>
          <p:nvPr/>
        </p:nvSpPr>
        <p:spPr>
          <a:xfrm>
            <a:off x="8229580" y="4788914"/>
            <a:ext cx="275907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Fokus tuloksellisuudessa</a:t>
            </a:r>
            <a:endParaRPr lang="fi-FI" sz="1600" noProof="0" dirty="0">
              <a:solidFill>
                <a:schemeClr val="tx1"/>
              </a:solidFill>
            </a:endParaRPr>
          </a:p>
        </p:txBody>
      </p:sp>
      <p:sp>
        <p:nvSpPr>
          <p:cNvPr id="17" name="Suorakulmio 7">
            <a:extLst>
              <a:ext uri="{FF2B5EF4-FFF2-40B4-BE49-F238E27FC236}">
                <a16:creationId xmlns:a16="http://schemas.microsoft.com/office/drawing/2014/main" id="{20DCC5D0-9441-BEA6-F6D9-47BCB5D382C0}"/>
              </a:ext>
            </a:extLst>
          </p:cNvPr>
          <p:cNvSpPr>
            <a:spLocks/>
          </p:cNvSpPr>
          <p:nvPr/>
        </p:nvSpPr>
        <p:spPr>
          <a:xfrm>
            <a:off x="343257" y="567849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Ennakoiva ote</a:t>
            </a:r>
          </a:p>
        </p:txBody>
      </p:sp>
      <p:sp>
        <p:nvSpPr>
          <p:cNvPr id="25" name="Suorakulmio 7">
            <a:extLst>
              <a:ext uri="{FF2B5EF4-FFF2-40B4-BE49-F238E27FC236}">
                <a16:creationId xmlns:a16="http://schemas.microsoft.com/office/drawing/2014/main" id="{985DF1F6-2EBE-A0DC-8D49-6B07BF3EE466}"/>
              </a:ext>
            </a:extLst>
          </p:cNvPr>
          <p:cNvSpPr>
            <a:spLocks/>
          </p:cNvSpPr>
          <p:nvPr/>
        </p:nvSpPr>
        <p:spPr>
          <a:xfrm>
            <a:off x="3102497" y="5729372"/>
            <a:ext cx="488945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noProof="0" dirty="0">
                <a:solidFill>
                  <a:schemeClr val="tx1"/>
                </a:solidFill>
              </a:rPr>
              <a:t>Missiolähtöisyys, tarkastelu rinnakkain olemassa </a:t>
            </a:r>
          </a:p>
          <a:p>
            <a:r>
              <a:rPr lang="fi-FI" sz="1600" noProof="0" dirty="0">
                <a:solidFill>
                  <a:schemeClr val="tx1"/>
                </a:solidFill>
              </a:rPr>
              <a:t>olevien vahvojen alojen kanssa</a:t>
            </a:r>
            <a:endParaRPr lang="fi-FI" sz="1600" noProof="0" dirty="0">
              <a:solidFill>
                <a:schemeClr val="accent6"/>
              </a:solidFill>
            </a:endParaRPr>
          </a:p>
        </p:txBody>
      </p:sp>
      <p:sp>
        <p:nvSpPr>
          <p:cNvPr id="29" name="Suorakulmio 7">
            <a:extLst>
              <a:ext uri="{FF2B5EF4-FFF2-40B4-BE49-F238E27FC236}">
                <a16:creationId xmlns:a16="http://schemas.microsoft.com/office/drawing/2014/main" id="{CEB46CA6-8D70-7855-5C22-F8FD21ED0BDF}"/>
              </a:ext>
            </a:extLst>
          </p:cNvPr>
          <p:cNvSpPr>
            <a:spLocks/>
          </p:cNvSpPr>
          <p:nvPr/>
        </p:nvSpPr>
        <p:spPr>
          <a:xfrm>
            <a:off x="8229580" y="5693774"/>
            <a:ext cx="36511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noProof="0" dirty="0">
                <a:solidFill>
                  <a:schemeClr val="tx1"/>
                </a:solidFill>
              </a:rPr>
              <a:t>”Päämissiossa” esim. ilmasto ja energia, kiertotalous, terveys ja hoiva</a:t>
            </a:r>
          </a:p>
        </p:txBody>
      </p:sp>
      <p:sp>
        <p:nvSpPr>
          <p:cNvPr id="19" name="Suorakulmio 7">
            <a:extLst>
              <a:ext uri="{FF2B5EF4-FFF2-40B4-BE49-F238E27FC236}">
                <a16:creationId xmlns:a16="http://schemas.microsoft.com/office/drawing/2014/main" id="{6D414D52-8DC4-6391-DFED-4EE3EE88E1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2654419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7" name="Suorakulmio 7">
            <a:extLst>
              <a:ext uri="{FF2B5EF4-FFF2-40B4-BE49-F238E27FC236}">
                <a16:creationId xmlns:a16="http://schemas.microsoft.com/office/drawing/2014/main" id="{2D443332-2DAE-4C20-FBF5-06BDBF8201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01345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8" name="Suorakulmio 7">
            <a:extLst>
              <a:ext uri="{FF2B5EF4-FFF2-40B4-BE49-F238E27FC236}">
                <a16:creationId xmlns:a16="http://schemas.microsoft.com/office/drawing/2014/main" id="{E45541D1-8C1B-A03B-92B0-1AF2B46CBD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69297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cxnSp>
        <p:nvCxnSpPr>
          <p:cNvPr id="32" name="Straight Connector 6">
            <a:extLst>
              <a:ext uri="{FF2B5EF4-FFF2-40B4-BE49-F238E27FC236}">
                <a16:creationId xmlns:a16="http://schemas.microsoft.com/office/drawing/2014/main" id="{C87B494A-BE44-7480-4049-B2B30A5D4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083185" y="806966"/>
            <a:ext cx="9102" cy="5760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6">
            <a:extLst>
              <a:ext uri="{FF2B5EF4-FFF2-40B4-BE49-F238E27FC236}">
                <a16:creationId xmlns:a16="http://schemas.microsoft.com/office/drawing/2014/main" id="{D8498EBC-A687-66E8-51EC-D415AC393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048920" y="797943"/>
            <a:ext cx="9102" cy="5760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6D3CF2-2707-F98F-6B47-9C7763281C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68514" y="6161911"/>
            <a:ext cx="2743200" cy="972000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078C10-ABC5-4EF7-9B5E-599CE2B16BF5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72070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Arrow 24">
            <a:extLst>
              <a:ext uri="{FF2B5EF4-FFF2-40B4-BE49-F238E27FC236}">
                <a16:creationId xmlns:a16="http://schemas.microsoft.com/office/drawing/2014/main" id="{0F466C70-6F19-FDE5-DA19-6632511BC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1927873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Right Arrow 24">
            <a:extLst>
              <a:ext uri="{FF2B5EF4-FFF2-40B4-BE49-F238E27FC236}">
                <a16:creationId xmlns:a16="http://schemas.microsoft.com/office/drawing/2014/main" id="{2D63BFF3-AC30-3BB5-9992-54C565F651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3997" y="889028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C2AB012F-9AE0-1D05-9FE9-499CB893E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3740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AB012F-9AE0-1D05-9FE9-499CB893E79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2C6FAB8-664B-ECEE-BE61-D95B21508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82" y="164546"/>
            <a:ext cx="10080625" cy="1130356"/>
          </a:xfrm>
        </p:spPr>
        <p:txBody>
          <a:bodyPr vert="horz" lIns="91440" tIns="45720" rIns="91440" bIns="45720" anchor="t"/>
          <a:lstStyle/>
          <a:p>
            <a:r>
              <a:rPr lang="fi-FI" sz="3600" dirty="0"/>
              <a:t>Ruotsi</a:t>
            </a:r>
            <a:endParaRPr lang="en-FI" sz="3600" dirty="0"/>
          </a:p>
        </p:txBody>
      </p:sp>
      <p:sp>
        <p:nvSpPr>
          <p:cNvPr id="18" name="Suorakulmio 7">
            <a:extLst>
              <a:ext uri="{FF2B5EF4-FFF2-40B4-BE49-F238E27FC236}">
                <a16:creationId xmlns:a16="http://schemas.microsoft.com/office/drawing/2014/main" id="{2185E365-FB2D-02DA-8B95-29BCB822E4E8}"/>
              </a:ext>
            </a:extLst>
          </p:cNvPr>
          <p:cNvSpPr>
            <a:spLocks/>
          </p:cNvSpPr>
          <p:nvPr/>
        </p:nvSpPr>
        <p:spPr>
          <a:xfrm>
            <a:off x="343257" y="833964"/>
            <a:ext cx="252146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rosessin laajuus ja kohdentuminen</a:t>
            </a:r>
          </a:p>
        </p:txBody>
      </p:sp>
      <p:sp>
        <p:nvSpPr>
          <p:cNvPr id="13" name="Suorakulmio 7">
            <a:extLst>
              <a:ext uri="{FF2B5EF4-FFF2-40B4-BE49-F238E27FC236}">
                <a16:creationId xmlns:a16="http://schemas.microsoft.com/office/drawing/2014/main" id="{3C92B94E-5C4C-9A3D-CDEC-3A940B35D4E0}"/>
              </a:ext>
            </a:extLst>
          </p:cNvPr>
          <p:cNvSpPr>
            <a:spLocks/>
          </p:cNvSpPr>
          <p:nvPr/>
        </p:nvSpPr>
        <p:spPr>
          <a:xfrm>
            <a:off x="3102497" y="871659"/>
            <a:ext cx="4823347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utkimuspoliittinen strategia keskittyy kilpailukyvyn kannalta keskeisten alojen vahvistamiseen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2" name="Suorakulmio 7">
            <a:extLst>
              <a:ext uri="{FF2B5EF4-FFF2-40B4-BE49-F238E27FC236}">
                <a16:creationId xmlns:a16="http://schemas.microsoft.com/office/drawing/2014/main" id="{E74E0AAE-395D-9A86-52A2-D28A4FC276F6}"/>
              </a:ext>
            </a:extLst>
          </p:cNvPr>
          <p:cNvSpPr>
            <a:spLocks/>
          </p:cNvSpPr>
          <p:nvPr/>
        </p:nvSpPr>
        <p:spPr>
          <a:xfrm>
            <a:off x="8229580" y="1085489"/>
            <a:ext cx="3632991" cy="6073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Esim. talouskasvun edellytykset, kestävä kehitys, osaamisen kehittäminen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strategiset alat kuten kvanttiteknologia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0" name="Suorakulmio 7">
            <a:extLst>
              <a:ext uri="{FF2B5EF4-FFF2-40B4-BE49-F238E27FC236}">
                <a16:creationId xmlns:a16="http://schemas.microsoft.com/office/drawing/2014/main" id="{0CAF1654-2811-FDBF-FA63-8F3C4B41FEB0}"/>
              </a:ext>
            </a:extLst>
          </p:cNvPr>
          <p:cNvSpPr>
            <a:spLocks/>
          </p:cNvSpPr>
          <p:nvPr/>
        </p:nvSpPr>
        <p:spPr>
          <a:xfrm>
            <a:off x="343257" y="1935836"/>
            <a:ext cx="2922895" cy="957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Hallinnonalojen rajat ylittävä yhteistyö ja vuorovaikutus</a:t>
            </a:r>
          </a:p>
        </p:txBody>
      </p:sp>
      <p:sp>
        <p:nvSpPr>
          <p:cNvPr id="21" name="Suorakulmio 7">
            <a:extLst>
              <a:ext uri="{FF2B5EF4-FFF2-40B4-BE49-F238E27FC236}">
                <a16:creationId xmlns:a16="http://schemas.microsoft.com/office/drawing/2014/main" id="{B2938794-E6D3-2C9A-F10C-103595A01565}"/>
              </a:ext>
            </a:extLst>
          </p:cNvPr>
          <p:cNvSpPr>
            <a:spLocks/>
          </p:cNvSpPr>
          <p:nvPr/>
        </p:nvSpPr>
        <p:spPr>
          <a:xfrm>
            <a:off x="3102497" y="1924608"/>
            <a:ext cx="49407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Koulutusministeriö koordinoi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muilla ministeriöillä vahva rooli muun muassa tulosohjattavien tutkimusrahoittajien kautta 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6" name="Suorakulmio 7">
            <a:extLst>
              <a:ext uri="{FF2B5EF4-FFF2-40B4-BE49-F238E27FC236}">
                <a16:creationId xmlns:a16="http://schemas.microsoft.com/office/drawing/2014/main" id="{FDAE5435-E89E-0000-0519-986F3321EC16}"/>
              </a:ext>
            </a:extLst>
          </p:cNvPr>
          <p:cNvSpPr>
            <a:spLocks/>
          </p:cNvSpPr>
          <p:nvPr/>
        </p:nvSpPr>
        <p:spPr>
          <a:xfrm>
            <a:off x="8229580" y="1945613"/>
            <a:ext cx="38026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Muiden ministeriöiden lausunnot</a:t>
            </a:r>
            <a:endParaRPr lang="fi-FI" dirty="0"/>
          </a:p>
        </p:txBody>
      </p:sp>
      <p:sp>
        <p:nvSpPr>
          <p:cNvPr id="6" name="Right Arrow 24">
            <a:extLst>
              <a:ext uri="{FF2B5EF4-FFF2-40B4-BE49-F238E27FC236}">
                <a16:creationId xmlns:a16="http://schemas.microsoft.com/office/drawing/2014/main" id="{D2267121-4AA8-E4FE-9126-B43709ED40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5453" y="5821515"/>
            <a:ext cx="11700000" cy="7263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Right Arrow 24">
            <a:extLst>
              <a:ext uri="{FF2B5EF4-FFF2-40B4-BE49-F238E27FC236}">
                <a16:creationId xmlns:a16="http://schemas.microsoft.com/office/drawing/2014/main" id="{BB429FD2-80B0-F029-3620-D060117E1E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478048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Right Arrow 24">
            <a:extLst>
              <a:ext uri="{FF2B5EF4-FFF2-40B4-BE49-F238E27FC236}">
                <a16:creationId xmlns:a16="http://schemas.microsoft.com/office/drawing/2014/main" id="{40C8B82A-B634-CBBA-B7AE-5CE87AE39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3682" y="4013458"/>
            <a:ext cx="1170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Right Arrow 24">
            <a:extLst>
              <a:ext uri="{FF2B5EF4-FFF2-40B4-BE49-F238E27FC236}">
                <a16:creationId xmlns:a16="http://schemas.microsoft.com/office/drawing/2014/main" id="{42B74C58-5870-A17D-A8A8-04BF5D5DC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3682" y="296402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4" name="Suorakulmio 7">
            <a:extLst>
              <a:ext uri="{FF2B5EF4-FFF2-40B4-BE49-F238E27FC236}">
                <a16:creationId xmlns:a16="http://schemas.microsoft.com/office/drawing/2014/main" id="{04880EA9-155F-6A9B-D493-5C66BCE39CA7}"/>
              </a:ext>
            </a:extLst>
          </p:cNvPr>
          <p:cNvSpPr>
            <a:spLocks/>
          </p:cNvSpPr>
          <p:nvPr/>
        </p:nvSpPr>
        <p:spPr>
          <a:xfrm>
            <a:off x="343257" y="2965336"/>
            <a:ext cx="2689668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Vuorovaikutus keskeisten sidosryhmien kanssa</a:t>
            </a:r>
          </a:p>
        </p:txBody>
      </p:sp>
      <p:sp>
        <p:nvSpPr>
          <p:cNvPr id="22" name="Suorakulmio 7">
            <a:extLst>
              <a:ext uri="{FF2B5EF4-FFF2-40B4-BE49-F238E27FC236}">
                <a16:creationId xmlns:a16="http://schemas.microsoft.com/office/drawing/2014/main" id="{8F2E285D-7BD3-3899-B51A-1BBDBCE29422}"/>
              </a:ext>
            </a:extLst>
          </p:cNvPr>
          <p:cNvSpPr>
            <a:spLocks/>
          </p:cNvSpPr>
          <p:nvPr/>
        </p:nvSpPr>
        <p:spPr>
          <a:xfrm>
            <a:off x="3102497" y="2997943"/>
            <a:ext cx="5141399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Vahva yhteistyö keskeisten elinkeinoelämän alojen, julkisten rahoittajaorganisaatioiden sekä korkeakoulu- ja tutkimuslaitosten välillä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33" name="Tekstiruutu 32">
            <a:extLst>
              <a:ext uri="{FF2B5EF4-FFF2-40B4-BE49-F238E27FC236}">
                <a16:creationId xmlns:a16="http://schemas.microsoft.com/office/drawing/2014/main" id="{324C690F-8FF7-13AC-DBA3-89BB9DEDF453}"/>
              </a:ext>
            </a:extLst>
          </p:cNvPr>
          <p:cNvSpPr txBox="1"/>
          <p:nvPr/>
        </p:nvSpPr>
        <p:spPr>
          <a:xfrm>
            <a:off x="8318940" y="2981351"/>
            <a:ext cx="3368260" cy="98488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i-FI" sz="1600" dirty="0"/>
              <a:t>Neuvoa-antava tutkimusjaosto koostuu merkittävien toimialojen, korkeakoulu- ja tutkimuslaitosten ja yritysten edustajista</a:t>
            </a:r>
            <a:endParaRPr lang="fi-FI" dirty="0"/>
          </a:p>
        </p:txBody>
      </p:sp>
      <p:sp>
        <p:nvSpPr>
          <p:cNvPr id="15" name="Suorakulmio 7">
            <a:extLst>
              <a:ext uri="{FF2B5EF4-FFF2-40B4-BE49-F238E27FC236}">
                <a16:creationId xmlns:a16="http://schemas.microsoft.com/office/drawing/2014/main" id="{C8D4224B-9AC2-94D8-9919-3D91ABC37414}"/>
              </a:ext>
            </a:extLst>
          </p:cNvPr>
          <p:cNvSpPr>
            <a:spLocks/>
          </p:cNvSpPr>
          <p:nvPr/>
        </p:nvSpPr>
        <p:spPr>
          <a:xfrm>
            <a:off x="343257" y="3839323"/>
            <a:ext cx="2709545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rosessin aikajänne</a:t>
            </a:r>
          </a:p>
        </p:txBody>
      </p:sp>
      <p:sp>
        <p:nvSpPr>
          <p:cNvPr id="23" name="Suorakulmio 7">
            <a:extLst>
              <a:ext uri="{FF2B5EF4-FFF2-40B4-BE49-F238E27FC236}">
                <a16:creationId xmlns:a16="http://schemas.microsoft.com/office/drawing/2014/main" id="{441BD78E-8F79-D8D0-7024-C85201AFCB7E}"/>
              </a:ext>
            </a:extLst>
          </p:cNvPr>
          <p:cNvSpPr>
            <a:spLocks/>
          </p:cNvSpPr>
          <p:nvPr/>
        </p:nvSpPr>
        <p:spPr>
          <a:xfrm>
            <a:off x="3102497" y="3869600"/>
            <a:ext cx="495997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oistuu neljän vuoden välein</a:t>
            </a:r>
            <a:endParaRPr lang="fi-FI" dirty="0"/>
          </a:p>
        </p:txBody>
      </p:sp>
      <p:sp>
        <p:nvSpPr>
          <p:cNvPr id="2" name="Suorakulmio 7">
            <a:extLst>
              <a:ext uri="{FF2B5EF4-FFF2-40B4-BE49-F238E27FC236}">
                <a16:creationId xmlns:a16="http://schemas.microsoft.com/office/drawing/2014/main" id="{5FC3E4EF-97E4-D039-9619-5DBCA86807AA}"/>
              </a:ext>
            </a:extLst>
          </p:cNvPr>
          <p:cNvSpPr>
            <a:spLocks/>
          </p:cNvSpPr>
          <p:nvPr/>
        </p:nvSpPr>
        <p:spPr>
          <a:xfrm>
            <a:off x="8229580" y="3879162"/>
            <a:ext cx="33581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Hallituskaudet ylittävä sykli, </a:t>
            </a:r>
            <a:r>
              <a:rPr lang="fi-FI" sz="1600" noProof="0" dirty="0">
                <a:solidFill>
                  <a:schemeClr val="tx1"/>
                </a:solidFill>
              </a:rPr>
              <a:t>parlamentarismi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6" name="Suorakulmio 7">
            <a:extLst>
              <a:ext uri="{FF2B5EF4-FFF2-40B4-BE49-F238E27FC236}">
                <a16:creationId xmlns:a16="http://schemas.microsoft.com/office/drawing/2014/main" id="{A9A37B93-FE1C-A1EB-C1E7-5402767F1480}"/>
              </a:ext>
            </a:extLst>
          </p:cNvPr>
          <p:cNvSpPr>
            <a:spLocks/>
          </p:cNvSpPr>
          <p:nvPr/>
        </p:nvSpPr>
        <p:spPr>
          <a:xfrm>
            <a:off x="343257" y="478843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ainopisteiden tuloksellisuuden seuranta</a:t>
            </a:r>
          </a:p>
        </p:txBody>
      </p:sp>
      <p:sp>
        <p:nvSpPr>
          <p:cNvPr id="24" name="Suorakulmio 7">
            <a:extLst>
              <a:ext uri="{FF2B5EF4-FFF2-40B4-BE49-F238E27FC236}">
                <a16:creationId xmlns:a16="http://schemas.microsoft.com/office/drawing/2014/main" id="{5E7B0707-2269-B3C8-D754-D71751D27D4C}"/>
              </a:ext>
            </a:extLst>
          </p:cNvPr>
          <p:cNvSpPr>
            <a:spLocks/>
          </p:cNvSpPr>
          <p:nvPr/>
        </p:nvSpPr>
        <p:spPr>
          <a:xfrm>
            <a:off x="3102497" y="4790423"/>
            <a:ext cx="4929145" cy="989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iedeneuvosto ja koulutusministeriö koordinoivat</a:t>
            </a:r>
            <a:endParaRPr lang="fi-FI" dirty="0"/>
          </a:p>
        </p:txBody>
      </p:sp>
      <p:sp>
        <p:nvSpPr>
          <p:cNvPr id="4" name="Suorakulmio 7">
            <a:extLst>
              <a:ext uri="{FF2B5EF4-FFF2-40B4-BE49-F238E27FC236}">
                <a16:creationId xmlns:a16="http://schemas.microsoft.com/office/drawing/2014/main" id="{16636EF6-BA0F-BB59-ADC9-3C85E53B9771}"/>
              </a:ext>
            </a:extLst>
          </p:cNvPr>
          <p:cNvSpPr>
            <a:spLocks/>
          </p:cNvSpPr>
          <p:nvPr/>
        </p:nvSpPr>
        <p:spPr>
          <a:xfrm>
            <a:off x="8229580" y="4788914"/>
            <a:ext cx="275907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Kokonaiskuva muodostetaan eri tutkimusrahoittajien seurantatiedoilla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7" name="Suorakulmio 7">
            <a:extLst>
              <a:ext uri="{FF2B5EF4-FFF2-40B4-BE49-F238E27FC236}">
                <a16:creationId xmlns:a16="http://schemas.microsoft.com/office/drawing/2014/main" id="{20DCC5D0-9441-BEA6-F6D9-47BCB5D382C0}"/>
              </a:ext>
            </a:extLst>
          </p:cNvPr>
          <p:cNvSpPr>
            <a:spLocks/>
          </p:cNvSpPr>
          <p:nvPr/>
        </p:nvSpPr>
        <p:spPr>
          <a:xfrm>
            <a:off x="343257" y="567849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Ennakoiva ote</a:t>
            </a:r>
          </a:p>
        </p:txBody>
      </p:sp>
      <p:sp>
        <p:nvSpPr>
          <p:cNvPr id="19" name="Suorakulmio 7">
            <a:extLst>
              <a:ext uri="{FF2B5EF4-FFF2-40B4-BE49-F238E27FC236}">
                <a16:creationId xmlns:a16="http://schemas.microsoft.com/office/drawing/2014/main" id="{6D414D52-8DC4-6391-DFED-4EE3EE88E1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2654419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5" name="Suorakulmio 7">
            <a:extLst>
              <a:ext uri="{FF2B5EF4-FFF2-40B4-BE49-F238E27FC236}">
                <a16:creationId xmlns:a16="http://schemas.microsoft.com/office/drawing/2014/main" id="{985DF1F6-2EBE-A0DC-8D49-6B07BF3EE466}"/>
              </a:ext>
            </a:extLst>
          </p:cNvPr>
          <p:cNvSpPr>
            <a:spLocks/>
          </p:cNvSpPr>
          <p:nvPr/>
        </p:nvSpPr>
        <p:spPr>
          <a:xfrm>
            <a:off x="3102497" y="5729372"/>
            <a:ext cx="488945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Sisältyy prosessiin olemassa olevien vahvojen alojen rinnalla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7" name="Suorakulmio 7">
            <a:extLst>
              <a:ext uri="{FF2B5EF4-FFF2-40B4-BE49-F238E27FC236}">
                <a16:creationId xmlns:a16="http://schemas.microsoft.com/office/drawing/2014/main" id="{2D443332-2DAE-4C20-FBF5-06BDBF8201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01345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8" name="Suorakulmio 7">
            <a:extLst>
              <a:ext uri="{FF2B5EF4-FFF2-40B4-BE49-F238E27FC236}">
                <a16:creationId xmlns:a16="http://schemas.microsoft.com/office/drawing/2014/main" id="{E45541D1-8C1B-A03B-92B0-1AF2B46CBD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69297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9" name="Suorakulmio 7">
            <a:extLst>
              <a:ext uri="{FF2B5EF4-FFF2-40B4-BE49-F238E27FC236}">
                <a16:creationId xmlns:a16="http://schemas.microsoft.com/office/drawing/2014/main" id="{CEB46CA6-8D70-7855-5C22-F8FD21ED0BDF}"/>
              </a:ext>
            </a:extLst>
          </p:cNvPr>
          <p:cNvSpPr>
            <a:spLocks/>
          </p:cNvSpPr>
          <p:nvPr/>
        </p:nvSpPr>
        <p:spPr>
          <a:xfrm>
            <a:off x="8229580" y="5693774"/>
            <a:ext cx="36511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Nousevien alojen seuraaminen ja fokus tiedettä ja innovaatiokykyä vahvistavissa toimintatavoissa</a:t>
            </a:r>
            <a:endParaRPr lang="fi-FI" dirty="0">
              <a:solidFill>
                <a:schemeClr val="tx1"/>
              </a:solidFill>
            </a:endParaRPr>
          </a:p>
        </p:txBody>
      </p:sp>
      <p:cxnSp>
        <p:nvCxnSpPr>
          <p:cNvPr id="32" name="Straight Connector 6">
            <a:extLst>
              <a:ext uri="{FF2B5EF4-FFF2-40B4-BE49-F238E27FC236}">
                <a16:creationId xmlns:a16="http://schemas.microsoft.com/office/drawing/2014/main" id="{C87B494A-BE44-7480-4049-B2B30A5D4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083185" y="806966"/>
            <a:ext cx="9102" cy="5760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6">
            <a:extLst>
              <a:ext uri="{FF2B5EF4-FFF2-40B4-BE49-F238E27FC236}">
                <a16:creationId xmlns:a16="http://schemas.microsoft.com/office/drawing/2014/main" id="{D8498EBC-A687-66E8-51EC-D415AC393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048920" y="797943"/>
            <a:ext cx="9102" cy="5760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6D3CF2-2707-F98F-6B47-9C7763281C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68514" y="6161911"/>
            <a:ext cx="2743200" cy="972000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078C10-ABC5-4EF7-9B5E-599CE2B16BF5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LID4096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5999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ight Arrow 24">
            <a:extLst>
              <a:ext uri="{FF2B5EF4-FFF2-40B4-BE49-F238E27FC236}">
                <a16:creationId xmlns:a16="http://schemas.microsoft.com/office/drawing/2014/main" id="{2D63BFF3-AC30-3BB5-9992-54C565F651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3997" y="889028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C2AB012F-9AE0-1D05-9FE9-499CB893E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54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AB012F-9AE0-1D05-9FE9-499CB893E79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2C6FAB8-664B-ECEE-BE61-D95B21508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82" y="164546"/>
            <a:ext cx="10080625" cy="1130356"/>
          </a:xfrm>
        </p:spPr>
        <p:txBody>
          <a:bodyPr vert="horz" lIns="91440" tIns="45720" rIns="91440" bIns="45720" anchor="t"/>
          <a:lstStyle/>
          <a:p>
            <a:r>
              <a:rPr lang="fi-FI" sz="3600" dirty="0"/>
              <a:t>Tanska</a:t>
            </a:r>
            <a:endParaRPr lang="en-FI" sz="3600" dirty="0"/>
          </a:p>
        </p:txBody>
      </p:sp>
      <p:sp>
        <p:nvSpPr>
          <p:cNvPr id="18" name="Suorakulmio 7">
            <a:extLst>
              <a:ext uri="{FF2B5EF4-FFF2-40B4-BE49-F238E27FC236}">
                <a16:creationId xmlns:a16="http://schemas.microsoft.com/office/drawing/2014/main" id="{2185E365-FB2D-02DA-8B95-29BCB822E4E8}"/>
              </a:ext>
            </a:extLst>
          </p:cNvPr>
          <p:cNvSpPr>
            <a:spLocks/>
          </p:cNvSpPr>
          <p:nvPr/>
        </p:nvSpPr>
        <p:spPr>
          <a:xfrm>
            <a:off x="343257" y="833964"/>
            <a:ext cx="252146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rosessin laajuus ja kohdentuminen</a:t>
            </a:r>
          </a:p>
        </p:txBody>
      </p:sp>
      <p:sp>
        <p:nvSpPr>
          <p:cNvPr id="13" name="Suorakulmio 7">
            <a:extLst>
              <a:ext uri="{FF2B5EF4-FFF2-40B4-BE49-F238E27FC236}">
                <a16:creationId xmlns:a16="http://schemas.microsoft.com/office/drawing/2014/main" id="{3C92B94E-5C4C-9A3D-CDEC-3A940B35D4E0}"/>
              </a:ext>
            </a:extLst>
          </p:cNvPr>
          <p:cNvSpPr>
            <a:spLocks/>
          </p:cNvSpPr>
          <p:nvPr/>
        </p:nvSpPr>
        <p:spPr>
          <a:xfrm>
            <a:off x="3102497" y="871659"/>
            <a:ext cx="4823347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oimialakohtaiset strategiat ja tutkimusvarantojärjestelmä </a:t>
            </a:r>
          </a:p>
        </p:txBody>
      </p:sp>
      <p:sp>
        <p:nvSpPr>
          <p:cNvPr id="12" name="Suorakulmio 7">
            <a:extLst>
              <a:ext uri="{FF2B5EF4-FFF2-40B4-BE49-F238E27FC236}">
                <a16:creationId xmlns:a16="http://schemas.microsoft.com/office/drawing/2014/main" id="{E74E0AAE-395D-9A86-52A2-D28A4FC276F6}"/>
              </a:ext>
            </a:extLst>
          </p:cNvPr>
          <p:cNvSpPr>
            <a:spLocks/>
          </p:cNvSpPr>
          <p:nvPr/>
        </p:nvSpPr>
        <p:spPr>
          <a:xfrm>
            <a:off x="8229580" y="1085489"/>
            <a:ext cx="3632991" cy="6073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Varannosta rahoitetaan ilmasto-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terveys- ja oppimishankkeita</a:t>
            </a:r>
          </a:p>
        </p:txBody>
      </p:sp>
      <p:sp>
        <p:nvSpPr>
          <p:cNvPr id="6" name="Right Arrow 24">
            <a:extLst>
              <a:ext uri="{FF2B5EF4-FFF2-40B4-BE49-F238E27FC236}">
                <a16:creationId xmlns:a16="http://schemas.microsoft.com/office/drawing/2014/main" id="{D2267121-4AA8-E4FE-9126-B43709ED40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5453" y="5821515"/>
            <a:ext cx="1170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Right Arrow 24">
            <a:extLst>
              <a:ext uri="{FF2B5EF4-FFF2-40B4-BE49-F238E27FC236}">
                <a16:creationId xmlns:a16="http://schemas.microsoft.com/office/drawing/2014/main" id="{BB429FD2-80B0-F029-3620-D060117E1E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478048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Right Arrow 24">
            <a:extLst>
              <a:ext uri="{FF2B5EF4-FFF2-40B4-BE49-F238E27FC236}">
                <a16:creationId xmlns:a16="http://schemas.microsoft.com/office/drawing/2014/main" id="{40C8B82A-B634-CBBA-B7AE-5CE87AE39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3997" y="3993966"/>
            <a:ext cx="1170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Right Arrow 24">
            <a:extLst>
              <a:ext uri="{FF2B5EF4-FFF2-40B4-BE49-F238E27FC236}">
                <a16:creationId xmlns:a16="http://schemas.microsoft.com/office/drawing/2014/main" id="{42B74C58-5870-A17D-A8A8-04BF5D5DC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3682" y="296402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0" name="Right Arrow 24">
            <a:extLst>
              <a:ext uri="{FF2B5EF4-FFF2-40B4-BE49-F238E27FC236}">
                <a16:creationId xmlns:a16="http://schemas.microsoft.com/office/drawing/2014/main" id="{0F466C70-6F19-FDE5-DA19-6632511BC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1927873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" name="Suorakulmio 7">
            <a:extLst>
              <a:ext uri="{FF2B5EF4-FFF2-40B4-BE49-F238E27FC236}">
                <a16:creationId xmlns:a16="http://schemas.microsoft.com/office/drawing/2014/main" id="{0CAF1654-2811-FDBF-FA63-8F3C4B41FEB0}"/>
              </a:ext>
            </a:extLst>
          </p:cNvPr>
          <p:cNvSpPr>
            <a:spLocks/>
          </p:cNvSpPr>
          <p:nvPr/>
        </p:nvSpPr>
        <p:spPr>
          <a:xfrm>
            <a:off x="343257" y="1935836"/>
            <a:ext cx="2922895" cy="957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Hallinnonalojen rajat ylittävä yhteistyö ja vuorovaikutus</a:t>
            </a:r>
          </a:p>
        </p:txBody>
      </p:sp>
      <p:sp>
        <p:nvSpPr>
          <p:cNvPr id="21" name="Suorakulmio 7">
            <a:extLst>
              <a:ext uri="{FF2B5EF4-FFF2-40B4-BE49-F238E27FC236}">
                <a16:creationId xmlns:a16="http://schemas.microsoft.com/office/drawing/2014/main" id="{B2938794-E6D3-2C9A-F10C-103595A01565}"/>
              </a:ext>
            </a:extLst>
          </p:cNvPr>
          <p:cNvSpPr>
            <a:spLocks/>
          </p:cNvSpPr>
          <p:nvPr/>
        </p:nvSpPr>
        <p:spPr>
          <a:xfrm>
            <a:off x="3102497" y="1924608"/>
            <a:ext cx="49407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utkimusvarantojärjestelmää koordinoi korkeakoulutus- ja tiedeministeriö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joka ottaa vastaan syötettä eri puolilta yhteiskuntaa </a:t>
            </a:r>
          </a:p>
        </p:txBody>
      </p:sp>
      <p:sp>
        <p:nvSpPr>
          <p:cNvPr id="26" name="Suorakulmio 7">
            <a:extLst>
              <a:ext uri="{FF2B5EF4-FFF2-40B4-BE49-F238E27FC236}">
                <a16:creationId xmlns:a16="http://schemas.microsoft.com/office/drawing/2014/main" id="{FDAE5435-E89E-0000-0519-986F3321EC16}"/>
              </a:ext>
            </a:extLst>
          </p:cNvPr>
          <p:cNvSpPr>
            <a:spLocks/>
          </p:cNvSpPr>
          <p:nvPr/>
        </p:nvSpPr>
        <p:spPr>
          <a:xfrm>
            <a:off x="8229580" y="1945613"/>
            <a:ext cx="38026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Muiden ministeriöiden lausunnot</a:t>
            </a:r>
          </a:p>
        </p:txBody>
      </p:sp>
      <p:sp>
        <p:nvSpPr>
          <p:cNvPr id="14" name="Suorakulmio 7">
            <a:extLst>
              <a:ext uri="{FF2B5EF4-FFF2-40B4-BE49-F238E27FC236}">
                <a16:creationId xmlns:a16="http://schemas.microsoft.com/office/drawing/2014/main" id="{04880EA9-155F-6A9B-D493-5C66BCE39CA7}"/>
              </a:ext>
            </a:extLst>
          </p:cNvPr>
          <p:cNvSpPr>
            <a:spLocks/>
          </p:cNvSpPr>
          <p:nvPr/>
        </p:nvSpPr>
        <p:spPr>
          <a:xfrm>
            <a:off x="343257" y="2965336"/>
            <a:ext cx="2689668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Vuorovaikutus keskeisten sidosryhmien kanssa</a:t>
            </a:r>
          </a:p>
        </p:txBody>
      </p:sp>
      <p:sp>
        <p:nvSpPr>
          <p:cNvPr id="22" name="Suorakulmio 7">
            <a:extLst>
              <a:ext uri="{FF2B5EF4-FFF2-40B4-BE49-F238E27FC236}">
                <a16:creationId xmlns:a16="http://schemas.microsoft.com/office/drawing/2014/main" id="{8F2E285D-7BD3-3899-B51A-1BBDBCE29422}"/>
              </a:ext>
            </a:extLst>
          </p:cNvPr>
          <p:cNvSpPr>
            <a:spLocks/>
          </p:cNvSpPr>
          <p:nvPr/>
        </p:nvSpPr>
        <p:spPr>
          <a:xfrm>
            <a:off x="3102497" y="2997943"/>
            <a:ext cx="5141399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Sidosryhmälähtöistä, eturyhmävaikuttamisen vahva rooli</a:t>
            </a:r>
          </a:p>
        </p:txBody>
      </p:sp>
      <p:sp>
        <p:nvSpPr>
          <p:cNvPr id="33" name="Tekstiruutu 32">
            <a:extLst>
              <a:ext uri="{FF2B5EF4-FFF2-40B4-BE49-F238E27FC236}">
                <a16:creationId xmlns:a16="http://schemas.microsoft.com/office/drawing/2014/main" id="{324C690F-8FF7-13AC-DBA3-89BB9DEDF453}"/>
              </a:ext>
            </a:extLst>
          </p:cNvPr>
          <p:cNvSpPr txBox="1"/>
          <p:nvPr/>
        </p:nvSpPr>
        <p:spPr>
          <a:xfrm>
            <a:off x="8318940" y="3102689"/>
            <a:ext cx="336826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i-FI" sz="1600" dirty="0"/>
              <a:t>Yhteiskunnan haasteiden sijaan fokuksessa etujärjestöjen vaikuttamistyö</a:t>
            </a:r>
          </a:p>
        </p:txBody>
      </p:sp>
      <p:sp>
        <p:nvSpPr>
          <p:cNvPr id="15" name="Suorakulmio 7">
            <a:extLst>
              <a:ext uri="{FF2B5EF4-FFF2-40B4-BE49-F238E27FC236}">
                <a16:creationId xmlns:a16="http://schemas.microsoft.com/office/drawing/2014/main" id="{C8D4224B-9AC2-94D8-9919-3D91ABC37414}"/>
              </a:ext>
            </a:extLst>
          </p:cNvPr>
          <p:cNvSpPr>
            <a:spLocks/>
          </p:cNvSpPr>
          <p:nvPr/>
        </p:nvSpPr>
        <p:spPr>
          <a:xfrm>
            <a:off x="343257" y="3839323"/>
            <a:ext cx="2709545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rosessin aikajänne</a:t>
            </a:r>
          </a:p>
        </p:txBody>
      </p:sp>
      <p:sp>
        <p:nvSpPr>
          <p:cNvPr id="23" name="Suorakulmio 7">
            <a:extLst>
              <a:ext uri="{FF2B5EF4-FFF2-40B4-BE49-F238E27FC236}">
                <a16:creationId xmlns:a16="http://schemas.microsoft.com/office/drawing/2014/main" id="{441BD78E-8F79-D8D0-7024-C85201AFCB7E}"/>
              </a:ext>
            </a:extLst>
          </p:cNvPr>
          <p:cNvSpPr>
            <a:spLocks/>
          </p:cNvSpPr>
          <p:nvPr/>
        </p:nvSpPr>
        <p:spPr>
          <a:xfrm>
            <a:off x="3102497" y="3869600"/>
            <a:ext cx="495997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Nopea: vuosittain </a:t>
            </a:r>
          </a:p>
        </p:txBody>
      </p:sp>
      <p:sp>
        <p:nvSpPr>
          <p:cNvPr id="2" name="Suorakulmio 7">
            <a:extLst>
              <a:ext uri="{FF2B5EF4-FFF2-40B4-BE49-F238E27FC236}">
                <a16:creationId xmlns:a16="http://schemas.microsoft.com/office/drawing/2014/main" id="{5FC3E4EF-97E4-D039-9619-5DBCA86807AA}"/>
              </a:ext>
            </a:extLst>
          </p:cNvPr>
          <p:cNvSpPr>
            <a:spLocks/>
          </p:cNvSpPr>
          <p:nvPr/>
        </p:nvSpPr>
        <p:spPr>
          <a:xfrm>
            <a:off x="8229580" y="3879162"/>
            <a:ext cx="33581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Sidottu talousarvioesitykseen, </a:t>
            </a:r>
            <a:r>
              <a:rPr lang="fi-FI" sz="1600" noProof="0" dirty="0">
                <a:solidFill>
                  <a:schemeClr val="tx1"/>
                </a:solidFill>
              </a:rPr>
              <a:t>parlamentarismi</a:t>
            </a:r>
            <a:endParaRPr lang="fi-FI" sz="1600" dirty="0">
              <a:solidFill>
                <a:schemeClr val="tx1"/>
              </a:solidFill>
            </a:endParaRPr>
          </a:p>
        </p:txBody>
      </p:sp>
      <p:sp>
        <p:nvSpPr>
          <p:cNvPr id="16" name="Suorakulmio 7">
            <a:extLst>
              <a:ext uri="{FF2B5EF4-FFF2-40B4-BE49-F238E27FC236}">
                <a16:creationId xmlns:a16="http://schemas.microsoft.com/office/drawing/2014/main" id="{A9A37B93-FE1C-A1EB-C1E7-5402767F1480}"/>
              </a:ext>
            </a:extLst>
          </p:cNvPr>
          <p:cNvSpPr>
            <a:spLocks/>
          </p:cNvSpPr>
          <p:nvPr/>
        </p:nvSpPr>
        <p:spPr>
          <a:xfrm>
            <a:off x="343257" y="478843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ainopisteiden tuloksellisuuden seuranta</a:t>
            </a:r>
          </a:p>
        </p:txBody>
      </p:sp>
      <p:sp>
        <p:nvSpPr>
          <p:cNvPr id="24" name="Suorakulmio 7">
            <a:extLst>
              <a:ext uri="{FF2B5EF4-FFF2-40B4-BE49-F238E27FC236}">
                <a16:creationId xmlns:a16="http://schemas.microsoft.com/office/drawing/2014/main" id="{5E7B0707-2269-B3C8-D754-D71751D27D4C}"/>
              </a:ext>
            </a:extLst>
          </p:cNvPr>
          <p:cNvSpPr>
            <a:spLocks/>
          </p:cNvSpPr>
          <p:nvPr/>
        </p:nvSpPr>
        <p:spPr>
          <a:xfrm>
            <a:off x="3102497" y="4790423"/>
            <a:ext cx="4929145" cy="989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Keskittyy budjetin toteumaan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tuloksellisuuden osalta heikkoa</a:t>
            </a:r>
          </a:p>
        </p:txBody>
      </p:sp>
      <p:sp>
        <p:nvSpPr>
          <p:cNvPr id="4" name="Suorakulmio 7">
            <a:extLst>
              <a:ext uri="{FF2B5EF4-FFF2-40B4-BE49-F238E27FC236}">
                <a16:creationId xmlns:a16="http://schemas.microsoft.com/office/drawing/2014/main" id="{16636EF6-BA0F-BB59-ADC9-3C85E53B9771}"/>
              </a:ext>
            </a:extLst>
          </p:cNvPr>
          <p:cNvSpPr>
            <a:spLocks/>
          </p:cNvSpPr>
          <p:nvPr/>
        </p:nvSpPr>
        <p:spPr>
          <a:xfrm>
            <a:off x="8229580" y="4788914"/>
            <a:ext cx="275907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Varantoa käytetään omien intressien ajoon</a:t>
            </a:r>
          </a:p>
        </p:txBody>
      </p:sp>
      <p:sp>
        <p:nvSpPr>
          <p:cNvPr id="17" name="Suorakulmio 7">
            <a:extLst>
              <a:ext uri="{FF2B5EF4-FFF2-40B4-BE49-F238E27FC236}">
                <a16:creationId xmlns:a16="http://schemas.microsoft.com/office/drawing/2014/main" id="{20DCC5D0-9441-BEA6-F6D9-47BCB5D382C0}"/>
              </a:ext>
            </a:extLst>
          </p:cNvPr>
          <p:cNvSpPr>
            <a:spLocks/>
          </p:cNvSpPr>
          <p:nvPr/>
        </p:nvSpPr>
        <p:spPr>
          <a:xfrm>
            <a:off x="343257" y="567849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Ennakoiva ote</a:t>
            </a:r>
          </a:p>
        </p:txBody>
      </p:sp>
      <p:sp>
        <p:nvSpPr>
          <p:cNvPr id="19" name="Suorakulmio 7">
            <a:extLst>
              <a:ext uri="{FF2B5EF4-FFF2-40B4-BE49-F238E27FC236}">
                <a16:creationId xmlns:a16="http://schemas.microsoft.com/office/drawing/2014/main" id="{6D414D52-8DC4-6391-DFED-4EE3EE88E1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2654419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5" name="Suorakulmio 7">
            <a:extLst>
              <a:ext uri="{FF2B5EF4-FFF2-40B4-BE49-F238E27FC236}">
                <a16:creationId xmlns:a16="http://schemas.microsoft.com/office/drawing/2014/main" id="{985DF1F6-2EBE-A0DC-8D49-6B07BF3EE466}"/>
              </a:ext>
            </a:extLst>
          </p:cNvPr>
          <p:cNvSpPr>
            <a:spLocks/>
          </p:cNvSpPr>
          <p:nvPr/>
        </p:nvSpPr>
        <p:spPr>
          <a:xfrm>
            <a:off x="3102497" y="5729372"/>
            <a:ext cx="488945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Ei juuri ole</a:t>
            </a:r>
          </a:p>
        </p:txBody>
      </p:sp>
      <p:sp>
        <p:nvSpPr>
          <p:cNvPr id="27" name="Suorakulmio 7">
            <a:extLst>
              <a:ext uri="{FF2B5EF4-FFF2-40B4-BE49-F238E27FC236}">
                <a16:creationId xmlns:a16="http://schemas.microsoft.com/office/drawing/2014/main" id="{2D443332-2DAE-4C20-FBF5-06BDBF8201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01345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8" name="Suorakulmio 7">
            <a:extLst>
              <a:ext uri="{FF2B5EF4-FFF2-40B4-BE49-F238E27FC236}">
                <a16:creationId xmlns:a16="http://schemas.microsoft.com/office/drawing/2014/main" id="{E45541D1-8C1B-A03B-92B0-1AF2B46CBD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69297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9" name="Suorakulmio 7">
            <a:extLst>
              <a:ext uri="{FF2B5EF4-FFF2-40B4-BE49-F238E27FC236}">
                <a16:creationId xmlns:a16="http://schemas.microsoft.com/office/drawing/2014/main" id="{CEB46CA6-8D70-7855-5C22-F8FD21ED0BDF}"/>
              </a:ext>
            </a:extLst>
          </p:cNvPr>
          <p:cNvSpPr>
            <a:spLocks/>
          </p:cNvSpPr>
          <p:nvPr/>
        </p:nvSpPr>
        <p:spPr>
          <a:xfrm>
            <a:off x="8229580" y="5693774"/>
            <a:ext cx="36511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Politiikan lyhyt aikajänne hallitsee kokonaisuutta</a:t>
            </a:r>
          </a:p>
        </p:txBody>
      </p:sp>
      <p:cxnSp>
        <p:nvCxnSpPr>
          <p:cNvPr id="32" name="Straight Connector 6">
            <a:extLst>
              <a:ext uri="{FF2B5EF4-FFF2-40B4-BE49-F238E27FC236}">
                <a16:creationId xmlns:a16="http://schemas.microsoft.com/office/drawing/2014/main" id="{C87B494A-BE44-7480-4049-B2B30A5D4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083185" y="806966"/>
            <a:ext cx="9102" cy="5760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6">
            <a:extLst>
              <a:ext uri="{FF2B5EF4-FFF2-40B4-BE49-F238E27FC236}">
                <a16:creationId xmlns:a16="http://schemas.microsoft.com/office/drawing/2014/main" id="{D8498EBC-A687-66E8-51EC-D415AC393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048920" y="797943"/>
            <a:ext cx="9102" cy="5760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6D3CF2-2707-F98F-6B47-9C7763281C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68514" y="6161911"/>
            <a:ext cx="2743200" cy="972000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078C10-ABC5-4EF7-9B5E-599CE2B16BF5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659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ight Arrow 24">
            <a:extLst>
              <a:ext uri="{FF2B5EF4-FFF2-40B4-BE49-F238E27FC236}">
                <a16:creationId xmlns:a16="http://schemas.microsoft.com/office/drawing/2014/main" id="{2D63BFF3-AC30-3BB5-9992-54C565F651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3997" y="889028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aphicFrame>
        <p:nvGraphicFramePr>
          <p:cNvPr id="30" name="think-cell data - do not delete">
            <a:extLst>
              <a:ext uri="{FF2B5EF4-FFF2-40B4-BE49-F238E27FC236}">
                <a16:creationId xmlns:a16="http://schemas.microsoft.com/office/drawing/2014/main" id="{C2AB012F-9AE0-1D05-9FE9-499CB893E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443485"/>
              </p:ext>
            </p:extLst>
          </p:nvPr>
        </p:nvGraphicFramePr>
        <p:xfrm>
          <a:off x="1588" y="1247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think-cell data - do not delete">
                        <a:extLst>
                          <a:ext uri="{FF2B5EF4-FFF2-40B4-BE49-F238E27FC236}">
                            <a16:creationId xmlns:a16="http://schemas.microsoft.com/office/drawing/2014/main" id="{C2AB012F-9AE0-1D05-9FE9-499CB893E79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247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2C6FAB8-664B-ECEE-BE61-D95B21508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82" y="164546"/>
            <a:ext cx="10080625" cy="1130356"/>
          </a:xfrm>
        </p:spPr>
        <p:txBody>
          <a:bodyPr vert="horz" lIns="91440" tIns="45720" rIns="91440" bIns="45720" anchor="t"/>
          <a:lstStyle/>
          <a:p>
            <a:r>
              <a:rPr lang="fi-FI" sz="3600" dirty="0"/>
              <a:t>Norja</a:t>
            </a:r>
            <a:endParaRPr lang="en-FI" sz="3600" dirty="0"/>
          </a:p>
        </p:txBody>
      </p:sp>
      <p:sp>
        <p:nvSpPr>
          <p:cNvPr id="18" name="Suorakulmio 7">
            <a:extLst>
              <a:ext uri="{FF2B5EF4-FFF2-40B4-BE49-F238E27FC236}">
                <a16:creationId xmlns:a16="http://schemas.microsoft.com/office/drawing/2014/main" id="{2185E365-FB2D-02DA-8B95-29BCB822E4E8}"/>
              </a:ext>
            </a:extLst>
          </p:cNvPr>
          <p:cNvSpPr>
            <a:spLocks/>
          </p:cNvSpPr>
          <p:nvPr/>
        </p:nvSpPr>
        <p:spPr>
          <a:xfrm>
            <a:off x="343257" y="833964"/>
            <a:ext cx="252146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rosessin laajuus ja kohdentuminen</a:t>
            </a:r>
          </a:p>
        </p:txBody>
      </p:sp>
      <p:sp>
        <p:nvSpPr>
          <p:cNvPr id="13" name="Suorakulmio 7">
            <a:extLst>
              <a:ext uri="{FF2B5EF4-FFF2-40B4-BE49-F238E27FC236}">
                <a16:creationId xmlns:a16="http://schemas.microsoft.com/office/drawing/2014/main" id="{3C92B94E-5C4C-9A3D-CDEC-3A940B35D4E0}"/>
              </a:ext>
            </a:extLst>
          </p:cNvPr>
          <p:cNvSpPr>
            <a:spLocks/>
          </p:cNvSpPr>
          <p:nvPr/>
        </p:nvSpPr>
        <p:spPr>
          <a:xfrm>
            <a:off x="3102497" y="871659"/>
            <a:ext cx="4823347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iedepoliittinen strategia, ”tutkimuksen valkoinen kirja” vastaa laaja-alaisiin yhteiskunnallisiin haasteisiin </a:t>
            </a:r>
            <a:r>
              <a:rPr lang="fi-FI" sz="1600" dirty="0" err="1">
                <a:solidFill>
                  <a:schemeClr val="tx1"/>
                </a:solidFill>
              </a:rPr>
              <a:t>poikkisektoriaalisilla</a:t>
            </a:r>
            <a:r>
              <a:rPr lang="fi-FI" sz="1600" dirty="0">
                <a:solidFill>
                  <a:schemeClr val="tx1"/>
                </a:solidFill>
              </a:rPr>
              <a:t> lähestymistavoilla</a:t>
            </a:r>
          </a:p>
        </p:txBody>
      </p:sp>
      <p:sp>
        <p:nvSpPr>
          <p:cNvPr id="6" name="Right Arrow 24">
            <a:extLst>
              <a:ext uri="{FF2B5EF4-FFF2-40B4-BE49-F238E27FC236}">
                <a16:creationId xmlns:a16="http://schemas.microsoft.com/office/drawing/2014/main" id="{D2267121-4AA8-E4FE-9126-B43709ED40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5453" y="5821515"/>
            <a:ext cx="11700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Right Arrow 24">
            <a:extLst>
              <a:ext uri="{FF2B5EF4-FFF2-40B4-BE49-F238E27FC236}">
                <a16:creationId xmlns:a16="http://schemas.microsoft.com/office/drawing/2014/main" id="{BB429FD2-80B0-F029-3620-D060117E1E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478048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Right Arrow 24">
            <a:extLst>
              <a:ext uri="{FF2B5EF4-FFF2-40B4-BE49-F238E27FC236}">
                <a16:creationId xmlns:a16="http://schemas.microsoft.com/office/drawing/2014/main" id="{40C8B82A-B634-CBBA-B7AE-5CE87AE39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43997" y="3993966"/>
            <a:ext cx="1170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Right Arrow 24">
            <a:extLst>
              <a:ext uri="{FF2B5EF4-FFF2-40B4-BE49-F238E27FC236}">
                <a16:creationId xmlns:a16="http://schemas.microsoft.com/office/drawing/2014/main" id="{42B74C58-5870-A17D-A8A8-04BF5D5DC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3682" y="2964025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0" name="Right Arrow 24">
            <a:extLst>
              <a:ext uri="{FF2B5EF4-FFF2-40B4-BE49-F238E27FC236}">
                <a16:creationId xmlns:a16="http://schemas.microsoft.com/office/drawing/2014/main" id="{0F466C70-6F19-FDE5-DA19-6632511BC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53804" y="1927873"/>
            <a:ext cx="11700000" cy="97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6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2" name="Suorakulmio 7">
            <a:extLst>
              <a:ext uri="{FF2B5EF4-FFF2-40B4-BE49-F238E27FC236}">
                <a16:creationId xmlns:a16="http://schemas.microsoft.com/office/drawing/2014/main" id="{E74E0AAE-395D-9A86-52A2-D28A4FC276F6}"/>
              </a:ext>
            </a:extLst>
          </p:cNvPr>
          <p:cNvSpPr>
            <a:spLocks/>
          </p:cNvSpPr>
          <p:nvPr/>
        </p:nvSpPr>
        <p:spPr>
          <a:xfrm>
            <a:off x="8229580" y="1085489"/>
            <a:ext cx="3632991" cy="6073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Kansantalouden kannalta keskeiset toimialat kuten öljynjalostus, energia-ala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kalatalous</a:t>
            </a:r>
          </a:p>
        </p:txBody>
      </p:sp>
      <p:sp>
        <p:nvSpPr>
          <p:cNvPr id="20" name="Suorakulmio 7">
            <a:extLst>
              <a:ext uri="{FF2B5EF4-FFF2-40B4-BE49-F238E27FC236}">
                <a16:creationId xmlns:a16="http://schemas.microsoft.com/office/drawing/2014/main" id="{0CAF1654-2811-FDBF-FA63-8F3C4B41FEB0}"/>
              </a:ext>
            </a:extLst>
          </p:cNvPr>
          <p:cNvSpPr>
            <a:spLocks/>
          </p:cNvSpPr>
          <p:nvPr/>
        </p:nvSpPr>
        <p:spPr>
          <a:xfrm>
            <a:off x="343257" y="1935836"/>
            <a:ext cx="2922895" cy="957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Hallinnonalojen rajat ylittävä yhteistyö ja vuorovaikutus</a:t>
            </a:r>
          </a:p>
        </p:txBody>
      </p:sp>
      <p:sp>
        <p:nvSpPr>
          <p:cNvPr id="21" name="Suorakulmio 7">
            <a:extLst>
              <a:ext uri="{FF2B5EF4-FFF2-40B4-BE49-F238E27FC236}">
                <a16:creationId xmlns:a16="http://schemas.microsoft.com/office/drawing/2014/main" id="{B2938794-E6D3-2C9A-F10C-103595A01565}"/>
              </a:ext>
            </a:extLst>
          </p:cNvPr>
          <p:cNvSpPr>
            <a:spLocks/>
          </p:cNvSpPr>
          <p:nvPr/>
        </p:nvSpPr>
        <p:spPr>
          <a:xfrm>
            <a:off x="3102497" y="1924608"/>
            <a:ext cx="49407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Opetus- ja tiedeministeriö koordinoi missiolähtöistä toimintatapaa, vahva toimialapolitiikka haastaa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TKI-rahoitus kanavoituu 15 ministeriön kautta</a:t>
            </a:r>
          </a:p>
        </p:txBody>
      </p:sp>
      <p:sp>
        <p:nvSpPr>
          <p:cNvPr id="26" name="Suorakulmio 7">
            <a:extLst>
              <a:ext uri="{FF2B5EF4-FFF2-40B4-BE49-F238E27FC236}">
                <a16:creationId xmlns:a16="http://schemas.microsoft.com/office/drawing/2014/main" id="{FDAE5435-E89E-0000-0519-986F3321EC16}"/>
              </a:ext>
            </a:extLst>
          </p:cNvPr>
          <p:cNvSpPr>
            <a:spLocks/>
          </p:cNvSpPr>
          <p:nvPr/>
        </p:nvSpPr>
        <p:spPr>
          <a:xfrm>
            <a:off x="8229580" y="1945613"/>
            <a:ext cx="38026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Kehittämistarpeet heijastuvat ns. sektoriministeriöiden kautta TKI-toiminnan kohdentumiseen ja rahoitukseen</a:t>
            </a:r>
          </a:p>
        </p:txBody>
      </p:sp>
      <p:sp>
        <p:nvSpPr>
          <p:cNvPr id="14" name="Suorakulmio 7">
            <a:extLst>
              <a:ext uri="{FF2B5EF4-FFF2-40B4-BE49-F238E27FC236}">
                <a16:creationId xmlns:a16="http://schemas.microsoft.com/office/drawing/2014/main" id="{04880EA9-155F-6A9B-D493-5C66BCE39CA7}"/>
              </a:ext>
            </a:extLst>
          </p:cNvPr>
          <p:cNvSpPr>
            <a:spLocks/>
          </p:cNvSpPr>
          <p:nvPr/>
        </p:nvSpPr>
        <p:spPr>
          <a:xfrm>
            <a:off x="343257" y="2965336"/>
            <a:ext cx="2689668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Vuorovaikutus keskeisten sidosryhmien kanssa</a:t>
            </a:r>
          </a:p>
        </p:txBody>
      </p:sp>
      <p:sp>
        <p:nvSpPr>
          <p:cNvPr id="22" name="Suorakulmio 7">
            <a:extLst>
              <a:ext uri="{FF2B5EF4-FFF2-40B4-BE49-F238E27FC236}">
                <a16:creationId xmlns:a16="http://schemas.microsoft.com/office/drawing/2014/main" id="{8F2E285D-7BD3-3899-B51A-1BBDBCE29422}"/>
              </a:ext>
            </a:extLst>
          </p:cNvPr>
          <p:cNvSpPr>
            <a:spLocks/>
          </p:cNvSpPr>
          <p:nvPr/>
        </p:nvSpPr>
        <p:spPr>
          <a:xfrm>
            <a:off x="3102497" y="2997943"/>
            <a:ext cx="5141399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Konsensushakuinen julkissektorin, tutkimusyhteisöjen ja elinkeinoelämän vuoropuhelu, tuotos verrattain neutraali </a:t>
            </a:r>
          </a:p>
        </p:txBody>
      </p:sp>
      <p:sp>
        <p:nvSpPr>
          <p:cNvPr id="33" name="Tekstiruutu 32">
            <a:extLst>
              <a:ext uri="{FF2B5EF4-FFF2-40B4-BE49-F238E27FC236}">
                <a16:creationId xmlns:a16="http://schemas.microsoft.com/office/drawing/2014/main" id="{324C690F-8FF7-13AC-DBA3-89BB9DEDF453}"/>
              </a:ext>
            </a:extLst>
          </p:cNvPr>
          <p:cNvSpPr txBox="1"/>
          <p:nvPr/>
        </p:nvSpPr>
        <p:spPr>
          <a:xfrm>
            <a:off x="8318940" y="3102689"/>
            <a:ext cx="336826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i-FI" sz="1600" dirty="0"/>
              <a:t>Esim. kestävä kehitys, tutkimuksen korkea laatu, innovaatiokapasiteetin vahvistaminen</a:t>
            </a:r>
          </a:p>
        </p:txBody>
      </p:sp>
      <p:sp>
        <p:nvSpPr>
          <p:cNvPr id="15" name="Suorakulmio 7">
            <a:extLst>
              <a:ext uri="{FF2B5EF4-FFF2-40B4-BE49-F238E27FC236}">
                <a16:creationId xmlns:a16="http://schemas.microsoft.com/office/drawing/2014/main" id="{C8D4224B-9AC2-94D8-9919-3D91ABC37414}"/>
              </a:ext>
            </a:extLst>
          </p:cNvPr>
          <p:cNvSpPr>
            <a:spLocks/>
          </p:cNvSpPr>
          <p:nvPr/>
        </p:nvSpPr>
        <p:spPr>
          <a:xfrm>
            <a:off x="343257" y="3839323"/>
            <a:ext cx="2709545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rosessin aikajänne</a:t>
            </a:r>
          </a:p>
        </p:txBody>
      </p:sp>
      <p:sp>
        <p:nvSpPr>
          <p:cNvPr id="23" name="Suorakulmio 7">
            <a:extLst>
              <a:ext uri="{FF2B5EF4-FFF2-40B4-BE49-F238E27FC236}">
                <a16:creationId xmlns:a16="http://schemas.microsoft.com/office/drawing/2014/main" id="{441BD78E-8F79-D8D0-7024-C85201AFCB7E}"/>
              </a:ext>
            </a:extLst>
          </p:cNvPr>
          <p:cNvSpPr>
            <a:spLocks/>
          </p:cNvSpPr>
          <p:nvPr/>
        </p:nvSpPr>
        <p:spPr>
          <a:xfrm>
            <a:off x="3102497" y="3869600"/>
            <a:ext cx="495997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10-vuotinen pitkäaikaissuunnitelma, päivitys 4 vuoden välein 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Suorakulmio 7">
            <a:extLst>
              <a:ext uri="{FF2B5EF4-FFF2-40B4-BE49-F238E27FC236}">
                <a16:creationId xmlns:a16="http://schemas.microsoft.com/office/drawing/2014/main" id="{5FC3E4EF-97E4-D039-9619-5DBCA86807AA}"/>
              </a:ext>
            </a:extLst>
          </p:cNvPr>
          <p:cNvSpPr>
            <a:spLocks/>
          </p:cNvSpPr>
          <p:nvPr/>
        </p:nvSpPr>
        <p:spPr>
          <a:xfrm>
            <a:off x="8229580" y="3879162"/>
            <a:ext cx="3358142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Hallituskaudet ylittävä sykli, </a:t>
            </a:r>
            <a:r>
              <a:rPr lang="fi-FI" sz="1600" noProof="0" dirty="0">
                <a:solidFill>
                  <a:schemeClr val="tx1"/>
                </a:solidFill>
              </a:rPr>
              <a:t>parlamentarismi</a:t>
            </a:r>
            <a:endParaRPr lang="fi-FI" sz="1600" dirty="0">
              <a:solidFill>
                <a:schemeClr val="tx1"/>
              </a:solidFill>
            </a:endParaRPr>
          </a:p>
        </p:txBody>
      </p:sp>
      <p:sp>
        <p:nvSpPr>
          <p:cNvPr id="16" name="Suorakulmio 7">
            <a:extLst>
              <a:ext uri="{FF2B5EF4-FFF2-40B4-BE49-F238E27FC236}">
                <a16:creationId xmlns:a16="http://schemas.microsoft.com/office/drawing/2014/main" id="{A9A37B93-FE1C-A1EB-C1E7-5402767F1480}"/>
              </a:ext>
            </a:extLst>
          </p:cNvPr>
          <p:cNvSpPr>
            <a:spLocks/>
          </p:cNvSpPr>
          <p:nvPr/>
        </p:nvSpPr>
        <p:spPr>
          <a:xfrm>
            <a:off x="343257" y="478843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Painopisteiden tuloksellisuuden seuranta</a:t>
            </a:r>
          </a:p>
        </p:txBody>
      </p:sp>
      <p:sp>
        <p:nvSpPr>
          <p:cNvPr id="24" name="Suorakulmio 7">
            <a:extLst>
              <a:ext uri="{FF2B5EF4-FFF2-40B4-BE49-F238E27FC236}">
                <a16:creationId xmlns:a16="http://schemas.microsoft.com/office/drawing/2014/main" id="{5E7B0707-2269-B3C8-D754-D71751D27D4C}"/>
              </a:ext>
            </a:extLst>
          </p:cNvPr>
          <p:cNvSpPr>
            <a:spLocks/>
          </p:cNvSpPr>
          <p:nvPr/>
        </p:nvSpPr>
        <p:spPr>
          <a:xfrm>
            <a:off x="3102497" y="4790423"/>
            <a:ext cx="4929145" cy="989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Tutkimusneuvosto koordinoi, painottuu tutkimustoimintaan ja suorituskykyindikaattoreihin</a:t>
            </a:r>
            <a:r>
              <a:rPr lang="fi-FI" sz="1600" noProof="0" dirty="0">
                <a:solidFill>
                  <a:schemeClr val="tx1"/>
                </a:solidFill>
              </a:rPr>
              <a:t>, </a:t>
            </a:r>
            <a:r>
              <a:rPr lang="fi-FI" sz="1600" dirty="0">
                <a:solidFill>
                  <a:schemeClr val="tx1"/>
                </a:solidFill>
              </a:rPr>
              <a:t>sektorikohtaista vaihtelua</a:t>
            </a:r>
          </a:p>
        </p:txBody>
      </p:sp>
      <p:sp>
        <p:nvSpPr>
          <p:cNvPr id="4" name="Suorakulmio 7">
            <a:extLst>
              <a:ext uri="{FF2B5EF4-FFF2-40B4-BE49-F238E27FC236}">
                <a16:creationId xmlns:a16="http://schemas.microsoft.com/office/drawing/2014/main" id="{16636EF6-BA0F-BB59-ADC9-3C85E53B9771}"/>
              </a:ext>
            </a:extLst>
          </p:cNvPr>
          <p:cNvSpPr>
            <a:spLocks/>
          </p:cNvSpPr>
          <p:nvPr/>
        </p:nvSpPr>
        <p:spPr>
          <a:xfrm>
            <a:off x="8229580" y="4788914"/>
            <a:ext cx="2759071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Innovaatiotoiminta ja TKI-toiminnan väliset kytkökset pienemmässä roolissa</a:t>
            </a:r>
          </a:p>
        </p:txBody>
      </p:sp>
      <p:sp>
        <p:nvSpPr>
          <p:cNvPr id="17" name="Suorakulmio 7">
            <a:extLst>
              <a:ext uri="{FF2B5EF4-FFF2-40B4-BE49-F238E27FC236}">
                <a16:creationId xmlns:a16="http://schemas.microsoft.com/office/drawing/2014/main" id="{20DCC5D0-9441-BEA6-F6D9-47BCB5D382C0}"/>
              </a:ext>
            </a:extLst>
          </p:cNvPr>
          <p:cNvSpPr>
            <a:spLocks/>
          </p:cNvSpPr>
          <p:nvPr/>
        </p:nvSpPr>
        <p:spPr>
          <a:xfrm>
            <a:off x="343257" y="5678497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b="1" noProof="0" dirty="0">
                <a:solidFill>
                  <a:schemeClr val="tx1"/>
                </a:solidFill>
              </a:rPr>
              <a:t>Ennakoiva ote</a:t>
            </a:r>
          </a:p>
        </p:txBody>
      </p:sp>
      <p:sp>
        <p:nvSpPr>
          <p:cNvPr id="19" name="Suorakulmio 7">
            <a:extLst>
              <a:ext uri="{FF2B5EF4-FFF2-40B4-BE49-F238E27FC236}">
                <a16:creationId xmlns:a16="http://schemas.microsoft.com/office/drawing/2014/main" id="{6D414D52-8DC4-6391-DFED-4EE3EE88E1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2654419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5" name="Suorakulmio 7">
            <a:extLst>
              <a:ext uri="{FF2B5EF4-FFF2-40B4-BE49-F238E27FC236}">
                <a16:creationId xmlns:a16="http://schemas.microsoft.com/office/drawing/2014/main" id="{985DF1F6-2EBE-A0DC-8D49-6B07BF3EE466}"/>
              </a:ext>
            </a:extLst>
          </p:cNvPr>
          <p:cNvSpPr>
            <a:spLocks/>
          </p:cNvSpPr>
          <p:nvPr/>
        </p:nvSpPr>
        <p:spPr>
          <a:xfrm>
            <a:off x="3102497" y="5729372"/>
            <a:ext cx="488945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Perinteisesti vahvojen ja kilpailukykyisten toimialojen vahva asema jättää nousevat alat katveeseen</a:t>
            </a:r>
          </a:p>
        </p:txBody>
      </p:sp>
      <p:sp>
        <p:nvSpPr>
          <p:cNvPr id="27" name="Suorakulmio 7">
            <a:extLst>
              <a:ext uri="{FF2B5EF4-FFF2-40B4-BE49-F238E27FC236}">
                <a16:creationId xmlns:a16="http://schemas.microsoft.com/office/drawing/2014/main" id="{2D443332-2DAE-4C20-FBF5-06BDBF8201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01345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8" name="Suorakulmio 7">
            <a:extLst>
              <a:ext uri="{FF2B5EF4-FFF2-40B4-BE49-F238E27FC236}">
                <a16:creationId xmlns:a16="http://schemas.microsoft.com/office/drawing/2014/main" id="{E45541D1-8C1B-A03B-92B0-1AF2B46CBD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116680" y="4692978"/>
            <a:ext cx="216000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fi-FI" sz="1400" noProof="0">
              <a:solidFill>
                <a:schemeClr val="bg1"/>
              </a:solidFill>
            </a:endParaRPr>
          </a:p>
        </p:txBody>
      </p:sp>
      <p:sp>
        <p:nvSpPr>
          <p:cNvPr id="29" name="Suorakulmio 7">
            <a:extLst>
              <a:ext uri="{FF2B5EF4-FFF2-40B4-BE49-F238E27FC236}">
                <a16:creationId xmlns:a16="http://schemas.microsoft.com/office/drawing/2014/main" id="{CEB46CA6-8D70-7855-5C22-F8FD21ED0BDF}"/>
              </a:ext>
            </a:extLst>
          </p:cNvPr>
          <p:cNvSpPr>
            <a:spLocks/>
          </p:cNvSpPr>
          <p:nvPr/>
        </p:nvSpPr>
        <p:spPr>
          <a:xfrm>
            <a:off x="8229580" y="5693774"/>
            <a:ext cx="3651194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fi-FI" sz="1600" dirty="0">
                <a:solidFill>
                  <a:schemeClr val="tx1"/>
                </a:solidFill>
              </a:rPr>
              <a:t>Uudistuminen pienessä roolissa </a:t>
            </a:r>
          </a:p>
        </p:txBody>
      </p:sp>
      <p:cxnSp>
        <p:nvCxnSpPr>
          <p:cNvPr id="32" name="Straight Connector 6">
            <a:extLst>
              <a:ext uri="{FF2B5EF4-FFF2-40B4-BE49-F238E27FC236}">
                <a16:creationId xmlns:a16="http://schemas.microsoft.com/office/drawing/2014/main" id="{C87B494A-BE44-7480-4049-B2B30A5D4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083185" y="806966"/>
            <a:ext cx="9102" cy="5868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6">
            <a:extLst>
              <a:ext uri="{FF2B5EF4-FFF2-40B4-BE49-F238E27FC236}">
                <a16:creationId xmlns:a16="http://schemas.microsoft.com/office/drawing/2014/main" id="{D8498EBC-A687-66E8-51EC-D415AC393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048920" y="797943"/>
            <a:ext cx="9102" cy="5832000"/>
          </a:xfrm>
          <a:prstGeom prst="line">
            <a:avLst/>
          </a:prstGeom>
          <a:ln w="9525">
            <a:solidFill>
              <a:srgbClr val="38584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6D3CF2-2707-F98F-6B47-9C7763281C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68514" y="6161911"/>
            <a:ext cx="2743200" cy="972000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078C10-ABC5-4EF7-9B5E-599CE2B16BF5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LID4096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8061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94511C-6CAE-5851-7D2F-9DB4E8210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3BDF417D-1F47-4BA4-82CB-0BA7906C3E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750216"/>
              </p:ext>
            </p:extLst>
          </p:nvPr>
        </p:nvGraphicFramePr>
        <p:xfrm>
          <a:off x="1450264" y="1034446"/>
          <a:ext cx="9291471" cy="550772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70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31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305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868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45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fi-FI" sz="1400" b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R w="3175">
                      <a:solidFill>
                        <a:srgbClr val="000000"/>
                      </a:solidFill>
                      <a:prstDash val="solid"/>
                    </a:lnR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75CFEB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b="0" spc="0" baseline="0">
                          <a:latin typeface="+mj-lt"/>
                          <a:cs typeface="Arial" panose="020B0604020202020204" pitchFamily="34" charset="0"/>
                        </a:rPr>
                        <a:t>Kehittyvä</a:t>
                      </a: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75CFEB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b="0" spc="0" baseline="0">
                          <a:latin typeface="+mj-lt"/>
                          <a:cs typeface="Arial" panose="020B0604020202020204" pitchFamily="34" charset="0"/>
                        </a:rPr>
                        <a:t>Edistyvä</a:t>
                      </a: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75CFEB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b="0" spc="0" baseline="0">
                          <a:latin typeface="+mj-lt"/>
                          <a:cs typeface="Arial" panose="020B0604020202020204" pitchFamily="34" charset="0"/>
                        </a:rPr>
                        <a:t>Edelläkävijä</a:t>
                      </a: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75CF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7522">
                <a:tc>
                  <a:txBody>
                    <a:bodyPr/>
                    <a:lstStyle/>
                    <a:p>
                      <a:pPr marL="50165" marR="122555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Valintojen</a:t>
                      </a:r>
                      <a:r>
                        <a:rPr lang="fi-FI" sz="1400" spc="8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laajuus</a:t>
                      </a:r>
                      <a:r>
                        <a:rPr lang="fi-FI" sz="1400" spc="8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25" baseline="0">
                          <a:latin typeface="+mn-lt"/>
                          <a:cs typeface="Arial" panose="020B0604020202020204" pitchFamily="34" charset="0"/>
                        </a:rPr>
                        <a:t>ja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 kohdentuminen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D7EFF6"/>
                    </a:solidFill>
                  </a:tcPr>
                </a:tc>
                <a:tc>
                  <a:txBody>
                    <a:bodyPr/>
                    <a:lstStyle/>
                    <a:p>
                      <a:pPr marL="50165" marR="7112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Osana</a:t>
                      </a:r>
                      <a:r>
                        <a:rPr lang="fi-FI" sz="1400" spc="8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talousarvioesitystä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Tansk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474345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Pohjautuu</a:t>
                      </a:r>
                      <a:r>
                        <a:rPr lang="fi-FI" sz="1400" spc="11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nykytilan vahvuuksiin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Norj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18923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Painottaa</a:t>
                      </a:r>
                      <a:r>
                        <a:rPr lang="fi-FI" sz="1400" spc="16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uudistumista</a:t>
                      </a:r>
                      <a:r>
                        <a:rPr lang="fi-FI" sz="1400" spc="16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25" baseline="0">
                          <a:latin typeface="+mn-lt"/>
                          <a:cs typeface="Arial" panose="020B0604020202020204" pitchFamily="34" charset="0"/>
                        </a:rPr>
                        <a:t>ja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 kilpailukykyä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Alankomaat,</a:t>
                      </a:r>
                      <a:r>
                        <a:rPr lang="fi-FI" sz="1400" b="1" spc="14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Ruotsi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8433">
                <a:tc>
                  <a:txBody>
                    <a:bodyPr/>
                    <a:lstStyle/>
                    <a:p>
                      <a:pPr marL="50165" marR="7239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Hallinnonalojen</a:t>
                      </a:r>
                      <a:r>
                        <a:rPr lang="fi-FI" sz="1400" spc="17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20" baseline="0">
                          <a:latin typeface="+mn-lt"/>
                          <a:cs typeface="Arial" panose="020B0604020202020204" pitchFamily="34" charset="0"/>
                        </a:rPr>
                        <a:t>rajat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ylittävä</a:t>
                      </a:r>
                      <a:r>
                        <a:rPr lang="fi-FI" sz="1400" spc="14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yhteistyö</a:t>
                      </a:r>
                      <a:r>
                        <a:rPr lang="fi-FI" sz="1400" spc="14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25" baseline="0">
                          <a:latin typeface="+mn-lt"/>
                          <a:cs typeface="Arial" panose="020B0604020202020204" pitchFamily="34" charset="0"/>
                        </a:rPr>
                        <a:t>ja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 vuorovaikutus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D7EFF6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Satunnais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</a:pPr>
                      <a:endParaRPr lang="fi-FI" sz="1400" b="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Norja,</a:t>
                      </a:r>
                      <a:r>
                        <a:rPr lang="fi-FI" sz="1400" b="1" spc="8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Tansk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19304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Ajoittaista</a:t>
                      </a:r>
                      <a:r>
                        <a:rPr lang="fi-FI" sz="1400" spc="18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poikki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hallinnollista</a:t>
                      </a:r>
                      <a:r>
                        <a:rPr lang="fi-FI" sz="1400" spc="19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yhteistyötä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Alankomaat,</a:t>
                      </a:r>
                      <a:r>
                        <a:rPr lang="fi-FI" sz="1400" b="1" spc="14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Ruotsi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4318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Jatkuvaa</a:t>
                      </a:r>
                      <a:r>
                        <a:rPr lang="fi-FI" sz="1400" spc="9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yhteisiä</a:t>
                      </a:r>
                      <a:r>
                        <a:rPr lang="fi-FI" sz="1400" spc="9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tavoitteita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ja</a:t>
                      </a:r>
                      <a:r>
                        <a:rPr lang="fi-FI" sz="1400" spc="9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synergioita</a:t>
                      </a:r>
                      <a:r>
                        <a:rPr lang="fi-FI" sz="1400" spc="9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painottav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7522">
                <a:tc>
                  <a:txBody>
                    <a:bodyPr/>
                    <a:lstStyle/>
                    <a:p>
                      <a:pPr marL="50165" marR="7493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Vuorovaikutus</a:t>
                      </a:r>
                      <a:r>
                        <a:rPr lang="fi-FI" sz="1400" spc="114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25" baseline="0">
                          <a:latin typeface="+mn-lt"/>
                          <a:cs typeface="Arial" panose="020B0604020202020204" pitchFamily="34" charset="0"/>
                        </a:rPr>
                        <a:t>ja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 viestintä</a:t>
                      </a:r>
                      <a:r>
                        <a:rPr lang="fi-FI" sz="1400" spc="13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keskeisten 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sidosryhmien</a:t>
                      </a:r>
                      <a:r>
                        <a:rPr lang="fi-FI" sz="1400" spc="17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kanss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D7EFF6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Satunnais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29845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Ajoittaista</a:t>
                      </a:r>
                      <a:r>
                        <a:rPr lang="fi-FI" sz="1400" spc="18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kolmikanta- yhteistyötä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Norja,</a:t>
                      </a:r>
                      <a:r>
                        <a:rPr lang="fi-FI" sz="1400" b="1" spc="10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Ruotsi,</a:t>
                      </a:r>
                      <a:r>
                        <a:rPr lang="fi-FI" sz="1400" b="1" spc="10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Tansk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429259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Jatkuvaa</a:t>
                      </a:r>
                      <a:r>
                        <a:rPr lang="fi-FI" sz="1400" spc="114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kolmikantayhteistyötä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Alankomaat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7522">
                <a:tc>
                  <a:txBody>
                    <a:bodyPr/>
                    <a:lstStyle/>
                    <a:p>
                      <a:pPr marL="50165" marR="40640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Prosessin pitkäjänteisyys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D7EFF6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Yksivuotinen</a:t>
                      </a:r>
                      <a:br>
                        <a:rPr lang="fi-FI" sz="1400" b="0" spc="0" baseline="0">
                          <a:latin typeface="+mn-lt"/>
                          <a:cs typeface="Arial" panose="020B0604020202020204" pitchFamily="34" charset="0"/>
                        </a:rPr>
                      </a:br>
                      <a:br>
                        <a:rPr lang="fi-FI" sz="1400" b="0" spc="0" baseline="0"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Tansk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Hallituskausiin</a:t>
                      </a:r>
                      <a:r>
                        <a:rPr lang="fi-FI" sz="1400" spc="20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sidottu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38608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Nelivuotinen,</a:t>
                      </a:r>
                      <a:r>
                        <a:rPr lang="fi-FI" sz="1400" spc="19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hallitus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kaudet</a:t>
                      </a:r>
                      <a:r>
                        <a:rPr lang="fi-FI" sz="1400" spc="8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ylittävä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Alankomaat,</a:t>
                      </a:r>
                      <a:r>
                        <a:rPr lang="fi-FI" sz="1400" b="1" spc="114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Norja,</a:t>
                      </a:r>
                      <a:r>
                        <a:rPr lang="fi-FI" sz="1400" b="1" spc="12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Ruotsi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77522">
                <a:tc>
                  <a:txBody>
                    <a:bodyPr/>
                    <a:lstStyle/>
                    <a:p>
                      <a:pPr marL="50165" marR="31115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Painopisteiden tuloksellisuuden seuran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D7EFF6"/>
                    </a:solidFill>
                  </a:tcPr>
                </a:tc>
                <a:tc>
                  <a:txBody>
                    <a:bodyPr/>
                    <a:lstStyle/>
                    <a:p>
                      <a:pPr marL="50165" marR="359410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Kustannusten seuran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Tansk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120014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Tuloksellisuuden</a:t>
                      </a:r>
                      <a:r>
                        <a:rPr lang="fi-FI" sz="1400" spc="13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seuranta toimialakohtaisesti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Norj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109855">
                        <a:lnSpc>
                          <a:spcPct val="115700"/>
                        </a:lnSpc>
                        <a:spcBef>
                          <a:spcPts val="50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Tuloksellisuuden</a:t>
                      </a:r>
                      <a:r>
                        <a:rPr lang="fi-FI" sz="1400" spc="13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kokonais</a:t>
                      </a: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kuvan</a:t>
                      </a:r>
                      <a:r>
                        <a:rPr lang="fi-FI" sz="1400" spc="5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seuran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Alankomaat,</a:t>
                      </a:r>
                      <a:r>
                        <a:rPr lang="fi-FI" sz="1400" b="1" spc="145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Ruotsi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9871" marB="0">
                    <a:lnL w="3175">
                      <a:solidFill>
                        <a:srgbClr val="000000"/>
                      </a:solidFill>
                      <a:prstDash val="solid"/>
                    </a:lnL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30751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baseline="0">
                          <a:latin typeface="+mn-lt"/>
                          <a:cs typeface="Arial" panose="020B0604020202020204" pitchFamily="34" charset="0"/>
                        </a:rPr>
                        <a:t>Ennakoiva</a:t>
                      </a:r>
                      <a:r>
                        <a:rPr lang="fi-FI" sz="1400" spc="10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spc="-25" baseline="0">
                          <a:latin typeface="+mn-lt"/>
                          <a:cs typeface="Arial" panose="020B0604020202020204" pitchFamily="34" charset="0"/>
                        </a:rPr>
                        <a:t>ote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  <a:solidFill>
                      <a:srgbClr val="D7EFF6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Satunnais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Tansk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Osittais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50165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Alankomaat,</a:t>
                      </a:r>
                      <a:r>
                        <a:rPr lang="fi-FI" sz="1400" b="1" spc="114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baseline="0">
                          <a:latin typeface="+mn-lt"/>
                          <a:cs typeface="Arial" panose="020B0604020202020204" pitchFamily="34" charset="0"/>
                        </a:rPr>
                        <a:t>Norja,</a:t>
                      </a:r>
                      <a:r>
                        <a:rPr lang="fi-FI" sz="1400" b="1" spc="120" baseline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fi-FI" sz="1400" b="1" spc="-10" baseline="0">
                          <a:latin typeface="+mn-lt"/>
                          <a:cs typeface="Arial" panose="020B0604020202020204" pitchFamily="34" charset="0"/>
                        </a:rPr>
                        <a:t>Ruotsi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R w="3175">
                      <a:solidFill>
                        <a:srgbClr val="000000"/>
                      </a:solidFill>
                      <a:prstDash val="solid"/>
                    </a:lnR>
                    <a:lnT w="3175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fi-FI" sz="1400" spc="-10" baseline="0">
                          <a:latin typeface="+mn-lt"/>
                          <a:cs typeface="Arial" panose="020B0604020202020204" pitchFamily="34" charset="0"/>
                        </a:rPr>
                        <a:t>Systemaattista</a:t>
                      </a:r>
                      <a:endParaRPr lang="fi-FI" sz="1400" baseline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43429" marB="0">
                    <a:lnL w="3175">
                      <a:solidFill>
                        <a:srgbClr val="000000"/>
                      </a:solidFill>
                      <a:prstDash val="solid"/>
                    </a:lnL>
                    <a:lnT w="3175">
                      <a:solidFill>
                        <a:srgbClr val="000000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itle 5">
            <a:extLst>
              <a:ext uri="{FF2B5EF4-FFF2-40B4-BE49-F238E27FC236}">
                <a16:creationId xmlns:a16="http://schemas.microsoft.com/office/drawing/2014/main" id="{C20C9A40-77E2-D8B7-47DF-6E4E8468D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169738"/>
            <a:ext cx="11472862" cy="996790"/>
          </a:xfrm>
        </p:spPr>
        <p:txBody>
          <a:bodyPr/>
          <a:lstStyle/>
          <a:p>
            <a:r>
              <a:rPr lang="fi-FI" sz="3600"/>
              <a:t>Valintaprosessien vertailu</a:t>
            </a:r>
            <a:endParaRPr lang="fi-FI" sz="36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235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 kalvopohjat">
  <a:themeElements>
    <a:clrScheme name="Sitra ACCESSIBL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FFDF00"/>
      </a:accent2>
      <a:accent3>
        <a:srgbClr val="74CFEB"/>
      </a:accent3>
      <a:accent4>
        <a:srgbClr val="3679B9"/>
      </a:accent4>
      <a:accent5>
        <a:srgbClr val="FF9F36"/>
      </a:accent5>
      <a:accent6>
        <a:srgbClr val="E8114B"/>
      </a:accent6>
      <a:hlink>
        <a:srgbClr val="3679B9"/>
      </a:hlink>
      <a:folHlink>
        <a:srgbClr val="3679B9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C10A99DE-CE07-4F10-BABF-9515E9D17591}" vid="{2517FBF4-C4F9-4FBD-8767-C6B027CA1DA8}"/>
    </a:ext>
  </a:extLst>
</a:theme>
</file>

<file path=ppt/theme/theme2.xml><?xml version="1.0" encoding="utf-8"?>
<a:theme xmlns:a="http://schemas.openxmlformats.org/drawingml/2006/main" name="Peruskalvopohjat">
  <a:themeElements>
    <a:clrScheme name="Sitra ACCESSIBL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FFDF00"/>
      </a:accent2>
      <a:accent3>
        <a:srgbClr val="74CFEB"/>
      </a:accent3>
      <a:accent4>
        <a:srgbClr val="3679B9"/>
      </a:accent4>
      <a:accent5>
        <a:srgbClr val="FF9F36"/>
      </a:accent5>
      <a:accent6>
        <a:srgbClr val="E8114B"/>
      </a:accent6>
      <a:hlink>
        <a:srgbClr val="3679B9"/>
      </a:hlink>
      <a:folHlink>
        <a:srgbClr val="3679B9"/>
      </a:folHlink>
    </a:clrScheme>
    <a:fontScheme name="Office 2">
      <a:majorFont>
        <a:latin typeface="Arial Black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C10A99DE-CE07-4F10-BABF-9515E9D17591}" vid="{5112583A-4E77-4BE8-A08F-E875D8890653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D10CE362CC6FD44091ADCB74E667F892" ma:contentTypeVersion="11" ma:contentTypeDescription="Luo uusi asiakirja." ma:contentTypeScope="" ma:versionID="ffe15984836dbdae8d720994e3e73984">
  <xsd:schema xmlns:xsd="http://www.w3.org/2001/XMLSchema" xmlns:xs="http://www.w3.org/2001/XMLSchema" xmlns:p="http://schemas.microsoft.com/office/2006/metadata/properties" xmlns:ns2="264a3649-675f-483f-922c-2859d6986886" xmlns:ns3="ec3ab258-3560-4075-b768-3bfb8909d4ae" targetNamespace="http://schemas.microsoft.com/office/2006/metadata/properties" ma:root="true" ma:fieldsID="a5ef893cb6d1289c1a7a3677f47220c3" ns2:_="" ns3:_="">
    <xsd:import namespace="264a3649-675f-483f-922c-2859d6986886"/>
    <xsd:import namespace="ec3ab258-3560-4075-b768-3bfb8909d4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4a3649-675f-483f-922c-2859d6986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Kuvien tunnisteet" ma:readOnly="false" ma:fieldId="{5cf76f15-5ced-4ddc-b409-7134ff3c332f}" ma:taxonomyMulti="true" ma:sspId="0b244f7c-65aa-48fb-9d13-422c763cce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3ab258-3560-4075-b768-3bfb8909d4a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2bc17ee-38fa-4b30-a7a1-14ae1ea6a825}" ma:internalName="TaxCatchAll" ma:showField="CatchAllData" ma:web="ec3ab258-3560-4075-b768-3bfb8909d4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4a3649-675f-483f-922c-2859d6986886">
      <Terms xmlns="http://schemas.microsoft.com/office/infopath/2007/PartnerControls"/>
    </lcf76f155ced4ddcb4097134ff3c332f>
    <TaxCatchAll xmlns="ec3ab258-3560-4075-b768-3bfb8909d4a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FF1690-E97B-42FE-B635-D8965700D1A0}">
  <ds:schemaRefs>
    <ds:schemaRef ds:uri="264a3649-675f-483f-922c-2859d6986886"/>
    <ds:schemaRef ds:uri="ec3ab258-3560-4075-b768-3bfb8909d4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A1BC686-504E-429D-BA36-A125F54B1825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ec3ab258-3560-4075-b768-3bfb8909d4ae"/>
    <ds:schemaRef ds:uri="264a3649-675f-483f-922c-2859d698688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83E9AB6-0685-4197-B1AE-8D9474DFCED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b39e600-2cb3-488a-98de-b5f38d49b3cb}" enabled="1" method="Privileged" siteId="{b01220f1-ab94-4936-86d7-f3b40f38f4b7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894</Words>
  <Application>Microsoft Office PowerPoint</Application>
  <PresentationFormat>Laajakuva</PresentationFormat>
  <Paragraphs>180</Paragraphs>
  <Slides>13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7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3</vt:i4>
      </vt:variant>
    </vt:vector>
  </HeadingPairs>
  <TitlesOfParts>
    <vt:vector size="23" baseType="lpstr">
      <vt:lpstr>Aptos</vt:lpstr>
      <vt:lpstr>Arial</vt:lpstr>
      <vt:lpstr>Arial Black</vt:lpstr>
      <vt:lpstr>Avenir Next LT Pro</vt:lpstr>
      <vt:lpstr>Georgia</vt:lpstr>
      <vt:lpstr>Lucida Grande</vt:lpstr>
      <vt:lpstr>Verdana</vt:lpstr>
      <vt:lpstr>2024 kalvopohjat</vt:lpstr>
      <vt:lpstr>Peruskalvopohjat</vt:lpstr>
      <vt:lpstr>think-cell Slide</vt:lpstr>
      <vt:lpstr>Miten TKI-painopisteet valitaan muissa maissa?</vt:lpstr>
      <vt:lpstr>Selvityksen tavoitteena oli tunnistaa Suomeen soveltuvia hyviä käytäntöjä</vt:lpstr>
      <vt:lpstr>Selvityksen keskeiset havainnot</vt:lpstr>
      <vt:lpstr>Verrokkimaiden valintaprosessit</vt:lpstr>
      <vt:lpstr>Alankomaat</vt:lpstr>
      <vt:lpstr>Ruotsi</vt:lpstr>
      <vt:lpstr>Tanska</vt:lpstr>
      <vt:lpstr>Norja</vt:lpstr>
      <vt:lpstr>Valintaprosessien vertailu</vt:lpstr>
      <vt:lpstr>Mitä oppeja analyysi  tarjoaa Suomelle?</vt:lpstr>
      <vt:lpstr>Johtopäätöksiä</vt:lpstr>
      <vt:lpstr>Kiitos!</vt:lpstr>
      <vt:lpstr>Tekoja tulevaisuudel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sten TKI-painopisteiden valintaprosessi</dc:title>
  <dc:creator>Hämäläinen Timo</dc:creator>
  <cp:lastModifiedBy>Jääskeläinen Susanna (VNK)</cp:lastModifiedBy>
  <cp:revision>2</cp:revision>
  <dcterms:created xsi:type="dcterms:W3CDTF">2024-08-18T18:09:21Z</dcterms:created>
  <dcterms:modified xsi:type="dcterms:W3CDTF">2024-12-02T11:5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0CE362CC6FD44091ADCB74E667F892</vt:lpwstr>
  </property>
  <property fmtid="{D5CDD505-2E9C-101B-9397-08002B2CF9AE}" pid="3" name="MSIP_Label_43f08ec5-d6d9-4227-8387-ccbfcb3632c4_Enabled">
    <vt:lpwstr>true</vt:lpwstr>
  </property>
  <property fmtid="{D5CDD505-2E9C-101B-9397-08002B2CF9AE}" pid="4" name="MSIP_Label_43f08ec5-d6d9-4227-8387-ccbfcb3632c4_SetDate">
    <vt:lpwstr>2024-09-30T14:02:13Z</vt:lpwstr>
  </property>
  <property fmtid="{D5CDD505-2E9C-101B-9397-08002B2CF9AE}" pid="5" name="MSIP_Label_43f08ec5-d6d9-4227-8387-ccbfcb3632c4_Method">
    <vt:lpwstr>Standard</vt:lpwstr>
  </property>
  <property fmtid="{D5CDD505-2E9C-101B-9397-08002B2CF9AE}" pid="6" name="MSIP_Label_43f08ec5-d6d9-4227-8387-ccbfcb3632c4_Name">
    <vt:lpwstr>Sweco Restricted</vt:lpwstr>
  </property>
  <property fmtid="{D5CDD505-2E9C-101B-9397-08002B2CF9AE}" pid="7" name="MSIP_Label_43f08ec5-d6d9-4227-8387-ccbfcb3632c4_SiteId">
    <vt:lpwstr>b7872ef0-9a00-4c18-8a4a-c7d25c778a9e</vt:lpwstr>
  </property>
  <property fmtid="{D5CDD505-2E9C-101B-9397-08002B2CF9AE}" pid="8" name="MSIP_Label_43f08ec5-d6d9-4227-8387-ccbfcb3632c4_ActionId">
    <vt:lpwstr>e7ec112f-79be-4a84-9d68-d3d2dbcb8194</vt:lpwstr>
  </property>
  <property fmtid="{D5CDD505-2E9C-101B-9397-08002B2CF9AE}" pid="9" name="MSIP_Label_43f08ec5-d6d9-4227-8387-ccbfcb3632c4_ContentBits">
    <vt:lpwstr>0</vt:lpwstr>
  </property>
  <property fmtid="{D5CDD505-2E9C-101B-9397-08002B2CF9AE}" pid="10" name="MediaServiceImageTags">
    <vt:lpwstr/>
  </property>
</Properties>
</file>